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4.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theme/theme5.xml" ContentType="application/vnd.openxmlformats-officedocument.them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theme/theme6.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7.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theme/theme8.xml" ContentType="application/vnd.openxmlformats-officedocument.them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9.xml" ContentType="application/vnd.openxmlformats-officedocument.theme+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theme/theme10.xml" ContentType="application/vnd.openxmlformats-officedocument.them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11.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theme/theme12.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theme/theme13.xml" ContentType="application/vnd.openxmlformats-officedocument.them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107.xml" ContentType="application/vnd.openxmlformats-officedocument.presentationml.tags+xml"/>
  <Override PartName="/ppt/notesSlides/notesSlide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20.xml" ContentType="application/vnd.openxmlformats-officedocument.presentationml.tags+xml"/>
  <Override PartName="/ppt/tags/tag121.xml" ContentType="application/vnd.openxmlformats-officedocument.presentationml.tags+xml"/>
  <Override PartName="/ppt/notesSlides/notesSlide2.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notesSlides/notesSlide3.xml" ContentType="application/vnd.openxmlformats-officedocument.presentationml.notesSlide+xml"/>
  <Override PartName="/ppt/tags/tag127.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677" r:id="rId5"/>
    <p:sldMasterId id="2147483849" r:id="rId6"/>
    <p:sldMasterId id="2147483737" r:id="rId7"/>
    <p:sldMasterId id="2147483765" r:id="rId8"/>
    <p:sldMasterId id="2147483793" r:id="rId9"/>
    <p:sldMasterId id="2147483821" r:id="rId10"/>
    <p:sldMasterId id="2147483877" r:id="rId11"/>
    <p:sldMasterId id="2147483909" r:id="rId12"/>
    <p:sldMasterId id="2147483938" r:id="rId13"/>
    <p:sldMasterId id="2147483966" r:id="rId14"/>
    <p:sldMasterId id="2147483997" r:id="rId15"/>
    <p:sldMasterId id="2147484130" r:id="rId16"/>
  </p:sldMasterIdLst>
  <p:notesMasterIdLst>
    <p:notesMasterId r:id="rId35"/>
  </p:notesMasterIdLst>
  <p:handoutMasterIdLst>
    <p:handoutMasterId r:id="rId36"/>
  </p:handoutMasterIdLst>
  <p:sldIdLst>
    <p:sldId id="1651" r:id="rId17"/>
    <p:sldId id="1673" r:id="rId18"/>
    <p:sldId id="305" r:id="rId19"/>
    <p:sldId id="2134803839" r:id="rId20"/>
    <p:sldId id="2134803841" r:id="rId21"/>
    <p:sldId id="2134803842" r:id="rId22"/>
    <p:sldId id="3361" r:id="rId23"/>
    <p:sldId id="354" r:id="rId24"/>
    <p:sldId id="2134803834" r:id="rId25"/>
    <p:sldId id="2134803836" r:id="rId26"/>
    <p:sldId id="2134803847" r:id="rId27"/>
    <p:sldId id="2134803846" r:id="rId28"/>
    <p:sldId id="2134803825" r:id="rId29"/>
    <p:sldId id="2134803800" r:id="rId30"/>
    <p:sldId id="2134803837" r:id="rId31"/>
    <p:sldId id="3341" r:id="rId32"/>
    <p:sldId id="2134803844" r:id="rId33"/>
    <p:sldId id="2134803845" r:id="rId34"/>
  </p:sldIdLst>
  <p:sldSz cx="12192000" cy="6858000"/>
  <p:notesSz cx="6858000" cy="91440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4" userDrawn="1">
          <p15:clr>
            <a:srgbClr val="A4A3A4"/>
          </p15:clr>
        </p15:guide>
        <p15:guide id="2" pos="3840" userDrawn="1">
          <p15:clr>
            <a:srgbClr val="A4A3A4"/>
          </p15:clr>
        </p15:guide>
        <p15:guide id="3" orient="horz" pos="840" userDrawn="1">
          <p15:clr>
            <a:srgbClr val="A4A3A4"/>
          </p15:clr>
        </p15:guide>
        <p15:guide id="4" pos="192"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B7942"/>
    <a:srgbClr val="0070C0"/>
    <a:srgbClr val="969696"/>
    <a:srgbClr val="FF4100"/>
    <a:srgbClr val="3E3838"/>
    <a:srgbClr val="EF4624"/>
    <a:srgbClr val="004F9F"/>
    <a:srgbClr val="F8E0F8"/>
    <a:srgbClr val="831F82"/>
    <a:srgbClr val="D3EDF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850"/>
    <p:restoredTop sz="92431"/>
  </p:normalViewPr>
  <p:slideViewPr>
    <p:cSldViewPr snapToGrid="0">
      <p:cViewPr varScale="1">
        <p:scale>
          <a:sx n="115" d="100"/>
          <a:sy n="115" d="100"/>
        </p:scale>
        <p:origin x="584" y="200"/>
      </p:cViewPr>
      <p:guideLst>
        <p:guide orient="horz" pos="2184"/>
        <p:guide pos="3840"/>
        <p:guide orient="horz" pos="840"/>
        <p:guide pos="192"/>
      </p:guideLst>
    </p:cSldViewPr>
  </p:slideViewPr>
  <p:notesTextViewPr>
    <p:cViewPr>
      <p:scale>
        <a:sx n="1" d="1"/>
        <a:sy n="1" d="1"/>
      </p:scale>
      <p:origin x="0" y="0"/>
    </p:cViewPr>
  </p:notesTextViewPr>
  <p:sorterViewPr>
    <p:cViewPr>
      <p:scale>
        <a:sx n="80" d="100"/>
        <a:sy n="80" d="100"/>
      </p:scale>
      <p:origin x="0" y="0"/>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39" Type="http://schemas.openxmlformats.org/officeDocument/2006/relationships/viewProps" Target="viewProps.xml"/><Relationship Id="rId21" Type="http://schemas.openxmlformats.org/officeDocument/2006/relationships/slide" Target="slides/slide5.xml"/><Relationship Id="rId34" Type="http://schemas.openxmlformats.org/officeDocument/2006/relationships/slide" Target="slides/slide18.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4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slide" Target="slides/slide16.xml"/><Relationship Id="rId37" Type="http://schemas.openxmlformats.org/officeDocument/2006/relationships/tags" Target="tags/tag1.xml"/><Relationship Id="rId40"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handoutMaster" Target="handoutMasters/handoutMaster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slide" Target="slides/slide14.xml"/><Relationship Id="rId35" Type="http://schemas.openxmlformats.org/officeDocument/2006/relationships/notesMaster" Target="notesMasters/notesMaster1.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slide" Target="slides/slide17.xml"/><Relationship Id="rId38"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017241379310345E-2"/>
          <c:y val="2.8017241379310345E-2"/>
          <c:w val="0.94396551724137934"/>
          <c:h val="0.94396551724137934"/>
        </c:manualLayout>
      </c:layout>
      <c:doughnutChart>
        <c:varyColors val="0"/>
        <c:ser>
          <c:idx val="0"/>
          <c:order val="0"/>
          <c:dPt>
            <c:idx val="0"/>
            <c:bubble3D val="0"/>
            <c:spPr>
              <a:solidFill>
                <a:schemeClr val="bg2"/>
              </a:solidFill>
              <a:ln>
                <a:noFill/>
              </a:ln>
            </c:spPr>
            <c:extLst>
              <c:ext xmlns:c16="http://schemas.microsoft.com/office/drawing/2014/chart" uri="{C3380CC4-5D6E-409C-BE32-E72D297353CC}">
                <c16:uniqueId val="{00000000-42F5-5C48-BB91-4CADA9ECDA0A}"/>
              </c:ext>
            </c:extLst>
          </c:dPt>
          <c:dPt>
            <c:idx val="1"/>
            <c:bubble3D val="0"/>
            <c:spPr>
              <a:solidFill>
                <a:srgbClr val="808080"/>
              </a:solidFill>
              <a:ln>
                <a:noFill/>
              </a:ln>
            </c:spPr>
            <c:extLst>
              <c:ext xmlns:c16="http://schemas.microsoft.com/office/drawing/2014/chart" uri="{C3380CC4-5D6E-409C-BE32-E72D297353CC}">
                <c16:uniqueId val="{00000001-42F5-5C48-BB91-4CADA9ECDA0A}"/>
              </c:ext>
            </c:extLst>
          </c:dPt>
          <c:dPt>
            <c:idx val="2"/>
            <c:bubble3D val="0"/>
            <c:spPr>
              <a:solidFill>
                <a:schemeClr val="accent3"/>
              </a:solidFill>
              <a:ln>
                <a:noFill/>
              </a:ln>
            </c:spPr>
            <c:extLst>
              <c:ext xmlns:c16="http://schemas.microsoft.com/office/drawing/2014/chart" uri="{C3380CC4-5D6E-409C-BE32-E72D297353CC}">
                <c16:uniqueId val="{00000002-42F5-5C48-BB91-4CADA9ECDA0A}"/>
              </c:ext>
            </c:extLst>
          </c:dPt>
          <c:val>
            <c:numRef>
              <c:f>Sheet1!$A$1:$A$3</c:f>
              <c:numCache>
                <c:formatCode>General</c:formatCode>
                <c:ptCount val="3"/>
                <c:pt idx="0">
                  <c:v>72</c:v>
                </c:pt>
                <c:pt idx="1">
                  <c:v>8</c:v>
                </c:pt>
                <c:pt idx="2">
                  <c:v>20</c:v>
                </c:pt>
              </c:numCache>
            </c:numRef>
          </c:val>
          <c:extLst>
            <c:ext xmlns:c16="http://schemas.microsoft.com/office/drawing/2014/chart" uri="{C3380CC4-5D6E-409C-BE32-E72D297353CC}">
              <c16:uniqueId val="{00000003-42F5-5C48-BB91-4CADA9ECDA0A}"/>
            </c:ext>
          </c:extLst>
        </c:ser>
        <c:dLbls>
          <c:showLegendKey val="0"/>
          <c:showVal val="0"/>
          <c:showCatName val="0"/>
          <c:showSerName val="0"/>
          <c:showPercent val="0"/>
          <c:showBubbleSize val="0"/>
          <c:showLeaderLines val="0"/>
        </c:dLbls>
        <c:firstSliceAng val="0"/>
        <c:holeSize val="50"/>
      </c:doughnutChart>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776519052523172E-2"/>
          <c:y val="2.7310924369747899E-2"/>
          <c:w val="0.9464469618949537"/>
          <c:h val="0.94537815126050417"/>
        </c:manualLayout>
      </c:layout>
      <c:barChart>
        <c:barDir val="col"/>
        <c:grouping val="stacked"/>
        <c:varyColors val="0"/>
        <c:ser>
          <c:idx val="0"/>
          <c:order val="0"/>
          <c:spPr>
            <a:solidFill>
              <a:srgbClr val="969696"/>
            </a:solidFill>
            <a:ln>
              <a:noFill/>
            </a:ln>
          </c:spPr>
          <c:invertIfNegative val="0"/>
          <c:val>
            <c:numRef>
              <c:f>Sheet1!$A$1:$B$1</c:f>
              <c:numCache>
                <c:formatCode>General</c:formatCode>
                <c:ptCount val="2"/>
                <c:pt idx="0">
                  <c:v>48</c:v>
                </c:pt>
                <c:pt idx="1">
                  <c:v>98</c:v>
                </c:pt>
              </c:numCache>
            </c:numRef>
          </c:val>
          <c:extLst>
            <c:ext xmlns:c16="http://schemas.microsoft.com/office/drawing/2014/chart" uri="{C3380CC4-5D6E-409C-BE32-E72D297353CC}">
              <c16:uniqueId val="{00000000-E8F1-3C45-BCBD-CED309463696}"/>
            </c:ext>
          </c:extLst>
        </c:ser>
        <c:dLbls>
          <c:showLegendKey val="0"/>
          <c:showVal val="0"/>
          <c:showCatName val="0"/>
          <c:showSerName val="0"/>
          <c:showPercent val="0"/>
          <c:showBubbleSize val="0"/>
        </c:dLbls>
        <c:gapWidth val="80"/>
        <c:overlap val="100"/>
        <c:axId val="257334528"/>
        <c:axId val="1"/>
      </c:barChart>
      <c:catAx>
        <c:axId val="25733452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98"/>
          <c:min val="0"/>
        </c:scaling>
        <c:delete val="1"/>
        <c:axPos val="l"/>
        <c:numFmt formatCode="General" sourceLinked="1"/>
        <c:majorTickMark val="out"/>
        <c:minorTickMark val="none"/>
        <c:tickLblPos val="nextTo"/>
        <c:crossAx val="257334528"/>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092592592592591E-2"/>
          <c:y val="2.2423458387235879E-2"/>
          <c:w val="0.84375"/>
          <c:h val="0.95515308322552828"/>
        </c:manualLayout>
      </c:layout>
      <c:barChart>
        <c:barDir val="bar"/>
        <c:grouping val="stacked"/>
        <c:varyColors val="0"/>
        <c:ser>
          <c:idx val="0"/>
          <c:order val="0"/>
          <c:spPr>
            <a:solidFill>
              <a:srgbClr val="C0C0C0"/>
            </a:solidFill>
            <a:ln>
              <a:noFill/>
            </a:ln>
          </c:spPr>
          <c:invertIfNegative val="0"/>
          <c:dLbls>
            <c:dLbl>
              <c:idx val="0"/>
              <c:layout>
                <c:manualLayout>
                  <c:x val="0.25231481481481483"/>
                  <c:y val="1.2936610608020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PA"/>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3D0-1F40-9D09-A73CF5E38EDA}"/>
                </c:ext>
              </c:extLst>
            </c:dLbl>
            <c:dLbl>
              <c:idx val="1"/>
              <c:layout>
                <c:manualLayout>
                  <c:x val="0.35127314814814814"/>
                  <c:y val="1.2936610608020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PA"/>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3D0-1F40-9D09-A73CF5E38EDA}"/>
                </c:ext>
              </c:extLst>
            </c:dLbl>
            <c:dLbl>
              <c:idx val="2"/>
              <c:layout>
                <c:manualLayout>
                  <c:x val="0.28472222222222221"/>
                  <c:y val="1.2936610608020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PA"/>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3D0-1F40-9D09-A73CF5E38EDA}"/>
                </c:ext>
              </c:extLst>
            </c:dLbl>
            <c:dLbl>
              <c:idx val="3"/>
              <c:layout>
                <c:manualLayout>
                  <c:x val="0.48495370370370372"/>
                  <c:y val="1.29366106080207E-3"/>
                </c:manualLayout>
              </c:layout>
              <c:numFmt formatCode="#,##0;&quot;-&quot;#,##0" sourceLinked="0"/>
              <c:spPr>
                <a:noFill/>
                <a:ln>
                  <a:noFill/>
                </a:ln>
              </c:spPr>
              <c:txPr>
                <a:bodyPr wrap="none"/>
                <a:lstStyle/>
                <a:p>
                  <a:pPr>
                    <a:defRPr sz="1200" kern="1200">
                      <a:solidFill>
                        <a:schemeClr val="tx1"/>
                      </a:solidFill>
                      <a:latin typeface="+mn-lt"/>
                      <a:ea typeface="+mn-ea"/>
                      <a:cs typeface="+mn-cs"/>
                    </a:defRPr>
                  </a:pPr>
                  <a:endParaRPr lang="en-PA"/>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3D0-1F40-9D09-A73CF5E38ED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331</c:v>
                </c:pt>
                <c:pt idx="1">
                  <c:v>504</c:v>
                </c:pt>
                <c:pt idx="2">
                  <c:v>387</c:v>
                </c:pt>
                <c:pt idx="3">
                  <c:v>738</c:v>
                </c:pt>
              </c:numCache>
            </c:numRef>
          </c:val>
          <c:extLst>
            <c:ext xmlns:c16="http://schemas.microsoft.com/office/drawing/2014/chart" uri="{C3380CC4-5D6E-409C-BE32-E72D297353CC}">
              <c16:uniqueId val="{00000004-13D0-1F40-9D09-A73CF5E38EDA}"/>
            </c:ext>
          </c:extLst>
        </c:ser>
        <c:dLbls>
          <c:showLegendKey val="0"/>
          <c:showVal val="0"/>
          <c:showCatName val="0"/>
          <c:showSerName val="0"/>
          <c:showPercent val="0"/>
          <c:showBubbleSize val="0"/>
        </c:dLbls>
        <c:gapWidth val="80"/>
        <c:overlap val="100"/>
        <c:axId val="257183312"/>
        <c:axId val="1"/>
      </c:barChart>
      <c:catAx>
        <c:axId val="257183312"/>
        <c:scaling>
          <c:orientation val="maxMin"/>
        </c:scaling>
        <c:delete val="0"/>
        <c:axPos val="l"/>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738"/>
          <c:min val="0"/>
        </c:scaling>
        <c:delete val="1"/>
        <c:axPos val="t"/>
        <c:numFmt formatCode="General" sourceLinked="1"/>
        <c:majorTickMark val="out"/>
        <c:minorTickMark val="none"/>
        <c:tickLblPos val="nextTo"/>
        <c:crossAx val="257183312"/>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4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74.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992E28-BC29-E048-B316-30CDEC936B8B}" type="datetimeFigureOut">
              <a:rPr lang="en-US" smtClean="0"/>
              <a:t>7/17/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A59B611-572A-884D-9009-F185403393A4}" type="slidenum">
              <a:rPr lang="en-US" smtClean="0"/>
              <a:t>‹#›</a:t>
            </a:fld>
            <a:endParaRPr lang="en-US"/>
          </a:p>
        </p:txBody>
      </p:sp>
    </p:spTree>
    <p:extLst>
      <p:ext uri="{BB962C8B-B14F-4D97-AF65-F5344CB8AC3E}">
        <p14:creationId xmlns:p14="http://schemas.microsoft.com/office/powerpoint/2010/main" val="67628763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47BE721-2C2C-5041-8AEA-87A41BA4944C}" type="datetimeFigureOut">
              <a:rPr lang="en-US" smtClean="0"/>
              <a:t>7/17/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4DA9585-6945-9347-A776-DE934A84F359}" type="slidenum">
              <a:rPr lang="en-US" smtClean="0"/>
              <a:t>‹#›</a:t>
            </a:fld>
            <a:endParaRPr lang="en-US"/>
          </a:p>
        </p:txBody>
      </p:sp>
    </p:spTree>
    <p:extLst>
      <p:ext uri="{BB962C8B-B14F-4D97-AF65-F5344CB8AC3E}">
        <p14:creationId xmlns:p14="http://schemas.microsoft.com/office/powerpoint/2010/main" val="1223091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B4DA9585-6945-9347-A776-DE934A84F359}" type="slidenum">
              <a:rPr lang="en-US" smtClean="0"/>
              <a:t>1</a:t>
            </a:fld>
            <a:endParaRPr lang="en-US"/>
          </a:p>
        </p:txBody>
      </p:sp>
    </p:spTree>
    <p:extLst>
      <p:ext uri="{BB962C8B-B14F-4D97-AF65-F5344CB8AC3E}">
        <p14:creationId xmlns:p14="http://schemas.microsoft.com/office/powerpoint/2010/main" val="6089236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9</a:t>
            </a:fld>
            <a:endParaRPr lang="en-US" dirty="0"/>
          </a:p>
        </p:txBody>
      </p:sp>
    </p:spTree>
    <p:extLst>
      <p:ext uri="{BB962C8B-B14F-4D97-AF65-F5344CB8AC3E}">
        <p14:creationId xmlns:p14="http://schemas.microsoft.com/office/powerpoint/2010/main" val="1314265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14</a:t>
            </a:fld>
            <a:endParaRPr lang="en-US" dirty="0"/>
          </a:p>
        </p:txBody>
      </p:sp>
    </p:spTree>
    <p:extLst>
      <p:ext uri="{BB962C8B-B14F-4D97-AF65-F5344CB8AC3E}">
        <p14:creationId xmlns:p14="http://schemas.microsoft.com/office/powerpoint/2010/main" val="26826778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6BE02D-20C0-F840-AFAC-BEA99C74FDC2}" type="slidenum">
              <a:rPr lang="en-US" smtClean="0"/>
              <a:pPr/>
              <a:t>15</a:t>
            </a:fld>
            <a:endParaRPr lang="en-US" dirty="0"/>
          </a:p>
        </p:txBody>
      </p:sp>
    </p:spTree>
    <p:extLst>
      <p:ext uri="{BB962C8B-B14F-4D97-AF65-F5344CB8AC3E}">
        <p14:creationId xmlns:p14="http://schemas.microsoft.com/office/powerpoint/2010/main" val="32393373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81A7B96-6395-974C-8CE0-CFBF392BABB3}"/>
              </a:ext>
            </a:extLst>
          </p:cNvPr>
          <p:cNvSpPr>
            <a:spLocks noGrp="1" noChangeArrowheads="1"/>
          </p:cNvSpPr>
          <p:nvPr>
            <p:ph type="sldNum"/>
          </p:nvPr>
        </p:nvSpPr>
        <p:spPr>
          <a:ln/>
        </p:spPr>
        <p:txBody>
          <a:bodyPr/>
          <a:lstStyle/>
          <a:p>
            <a:fld id="{AB6B4314-01B7-DF41-8F4F-E14E3D8F1B71}" type="slidenum">
              <a:rPr lang="en-US" altLang="en-US"/>
              <a:pPr/>
              <a:t>16</a:t>
            </a:fld>
            <a:endParaRPr lang="en-US" altLang="en-US"/>
          </a:p>
        </p:txBody>
      </p:sp>
      <p:sp>
        <p:nvSpPr>
          <p:cNvPr id="7169" name="Text Box 1">
            <a:extLst>
              <a:ext uri="{FF2B5EF4-FFF2-40B4-BE49-F238E27FC236}">
                <a16:creationId xmlns:a16="http://schemas.microsoft.com/office/drawing/2014/main" id="{901110E0-44CB-5B4C-A4B4-452FCB89E2E7}"/>
              </a:ext>
            </a:extLst>
          </p:cNvPr>
          <p:cNvSpPr txBox="1">
            <a:spLocks noGrp="1" noRot="1" noChangeAspect="1" noChangeArrowheads="1"/>
          </p:cNvSpPr>
          <p:nvPr>
            <p:ph type="sldImg"/>
          </p:nvPr>
        </p:nvSpPr>
        <p:spPr bwMode="auto">
          <a:xfrm>
            <a:off x="533400" y="763588"/>
            <a:ext cx="6705600" cy="3771900"/>
          </a:xfrm>
          <a:prstGeom prst="rect">
            <a:avLst/>
          </a:prstGeo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7170" name="Text Box 2">
            <a:extLst>
              <a:ext uri="{FF2B5EF4-FFF2-40B4-BE49-F238E27FC236}">
                <a16:creationId xmlns:a16="http://schemas.microsoft.com/office/drawing/2014/main" id="{D3683703-B92F-EA4F-9F71-C34C8E5632A7}"/>
              </a:ext>
            </a:extLst>
          </p:cNvPr>
          <p:cNvSpPr txBox="1">
            <a:spLocks noGrp="1" noChangeArrowheads="1"/>
          </p:cNvSpPr>
          <p:nvPr>
            <p:ph type="body" idx="1"/>
          </p:nvPr>
        </p:nvSpPr>
        <p:spPr bwMode="auto">
          <a:xfrm>
            <a:off x="777875" y="4776788"/>
            <a:ext cx="6218238" cy="452596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altLang="en-US"/>
          </a:p>
        </p:txBody>
      </p:sp>
    </p:spTree>
    <p:extLst>
      <p:ext uri="{BB962C8B-B14F-4D97-AF65-F5344CB8AC3E}">
        <p14:creationId xmlns:p14="http://schemas.microsoft.com/office/powerpoint/2010/main" val="30960348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10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0.xml"/></Relationships>
</file>

<file path=ppt/slideLayouts/_rels/slideLayout10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1.xml"/></Relationships>
</file>

<file path=ppt/slideLayouts/_rels/slideLayout10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2.xml"/></Relationships>
</file>

<file path=ppt/slideLayouts/_rels/slideLayout10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3.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4.xml"/></Relationships>
</file>

<file path=ppt/slideLayouts/_rels/slideLayout10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5.xml"/></Relationships>
</file>

<file path=ppt/slideLayouts/_rels/slideLayout10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6.xml"/></Relationships>
</file>

<file path=ppt/slideLayouts/_rels/slideLayout10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7.xml"/></Relationships>
</file>

<file path=ppt/slideLayouts/_rels/slideLayout10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8.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11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11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0.xml"/></Relationships>
</file>

<file path=ppt/slideLayouts/_rels/slideLayout11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1.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2.xml"/></Relationships>
</file>

<file path=ppt/slideLayouts/_rels/slideLayout11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3.xml"/></Relationships>
</file>

<file path=ppt/slideLayouts/_rels/slideLayout11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4.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5.xml"/></Relationships>
</file>

<file path=ppt/slideLayouts/_rels/slideLayout11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6.xml"/></Relationships>
</file>

<file path=ppt/slideLayouts/_rels/slideLayout11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7.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12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69.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0.xml"/></Relationships>
</file>

<file path=ppt/slideLayouts/_rels/slideLayout1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1.xml"/></Relationships>
</file>

<file path=ppt/slideLayouts/_rels/slideLayout12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2.xml"/></Relationships>
</file>

<file path=ppt/slideLayouts/_rels/slideLayout12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3.xml"/></Relationships>
</file>

<file path=ppt/slideLayouts/_rels/slideLayout12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4.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6.xml"/></Relationships>
</file>

<file path=ppt/slideLayouts/_rels/slideLayout15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5.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7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80.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6.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6.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2.xml"/></Relationships>
</file>

<file path=ppt/slideLayouts/_rels/slideLayout207.xml.rels><?xml version="1.0" encoding="UTF-8" standalone="yes"?>
<Relationships xmlns="http://schemas.openxmlformats.org/package/2006/relationships"><Relationship Id="rId2" Type="http://schemas.openxmlformats.org/officeDocument/2006/relationships/slideMaster" Target="../slideMasters/slideMaster6.xml"/><Relationship Id="rId1" Type="http://schemas.openxmlformats.org/officeDocument/2006/relationships/tags" Target="../tags/tag8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7.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5.xml"/></Relationships>
</file>

<file path=ppt/slideLayouts/_rels/slideLayout23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6.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8.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8.xml"/></Relationships>
</file>

<file path=ppt/slideLayouts/_rels/slideLayout261.xml.rels><?xml version="1.0" encoding="UTF-8" standalone="yes"?>
<Relationships xmlns="http://schemas.openxmlformats.org/package/2006/relationships"><Relationship Id="rId2" Type="http://schemas.openxmlformats.org/officeDocument/2006/relationships/slideMaster" Target="../slideMasters/slideMaster8.xml"/><Relationship Id="rId1" Type="http://schemas.openxmlformats.org/officeDocument/2006/relationships/tags" Target="../tags/tag89.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9.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9.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0.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9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8.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0.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0.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1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4.xml"/></Relationships>
</file>

<file path=ppt/slideLayouts/_rels/slideLayout318.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9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1.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4.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97.xml"/></Relationships>
</file>

<file path=ppt/slideLayouts/_rels/slideLayout345.xml.rels><?xml version="1.0" encoding="UTF-8" standalone="yes"?>
<Relationships xmlns="http://schemas.openxmlformats.org/package/2006/relationships"><Relationship Id="rId2" Type="http://schemas.openxmlformats.org/officeDocument/2006/relationships/slideMaster" Target="../slideMasters/slideMaster11.xml"/><Relationship Id="rId1" Type="http://schemas.openxmlformats.org/officeDocument/2006/relationships/tags" Target="../tags/tag9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5.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12.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2.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0.xml"/></Relationships>
</file>

<file path=ppt/slideLayouts/_rels/slideLayout373.xml.rels><?xml version="1.0" encoding="UTF-8" standalone="yes"?>
<Relationships xmlns="http://schemas.openxmlformats.org/package/2006/relationships"><Relationship Id="rId2" Type="http://schemas.openxmlformats.org/officeDocument/2006/relationships/slideMaster" Target="../slideMasters/slideMaster12.xml"/><Relationship Id="rId1" Type="http://schemas.openxmlformats.org/officeDocument/2006/relationships/tags" Target="../tags/tag101.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88.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17.vml"/><Relationship Id="rId6" Type="http://schemas.openxmlformats.org/officeDocument/2006/relationships/image" Target="../media/image10.emf"/><Relationship Id="rId5" Type="http://schemas.openxmlformats.org/officeDocument/2006/relationships/oleObject" Target="../embeddings/oleObject17.bin"/><Relationship Id="rId4" Type="http://schemas.openxmlformats.org/officeDocument/2006/relationships/slideMaster" Target="../slideMasters/slideMaster13.xml"/></Relationships>
</file>

<file path=ppt/slideLayouts/_rels/slideLayout389.xml.rels><?xml version="1.0" encoding="UTF-8" standalone="yes"?>
<Relationships xmlns="http://schemas.openxmlformats.org/package/2006/relationships"><Relationship Id="rId3" Type="http://schemas.openxmlformats.org/officeDocument/2006/relationships/tags" Target="../tags/tag106.xml"/><Relationship Id="rId2" Type="http://schemas.openxmlformats.org/officeDocument/2006/relationships/tags" Target="../tags/tag105.xml"/><Relationship Id="rId1" Type="http://schemas.openxmlformats.org/officeDocument/2006/relationships/vmlDrawing" Target="../drawings/vmlDrawing18.vml"/><Relationship Id="rId6" Type="http://schemas.openxmlformats.org/officeDocument/2006/relationships/image" Target="../media/image10.emf"/><Relationship Id="rId5" Type="http://schemas.openxmlformats.org/officeDocument/2006/relationships/oleObject" Target="../embeddings/oleObject18.bin"/><Relationship Id="rId4"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slideMaster" Target="../slideMasters/slideMaster3.xml"/><Relationship Id="rId6" Type="http://schemas.openxmlformats.org/officeDocument/2006/relationships/image" Target="../media/image19.emf"/><Relationship Id="rId5" Type="http://schemas.openxmlformats.org/officeDocument/2006/relationships/image" Target="../media/image18.emf"/><Relationship Id="rId4" Type="http://schemas.openxmlformats.org/officeDocument/2006/relationships/image" Target="../media/image17.e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9.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0.xml"/></Relationships>
</file>

<file path=ppt/slideLayouts/_rels/slideLayout6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1.xml"/></Relationships>
</file>

<file path=ppt/slideLayouts/_rels/slideLayout6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2.xml"/></Relationships>
</file>

<file path=ppt/slideLayouts/_rels/slideLayout6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4.xml"/></Relationships>
</file>

<file path=ppt/slideLayouts/_rels/slideLayout6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5.xml"/></Relationships>
</file>

<file path=ppt/slideLayouts/_rels/slideLayout6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6.xml"/></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7.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0.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9.xml"/></Relationships>
</file>

<file path=ppt/slideLayouts/_rels/slideLayout7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7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7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2.xml"/></Relationships>
</file>

<file path=ppt/slideLayouts/_rels/slideLayout7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3.xml"/></Relationships>
</file>

<file path=ppt/slideLayouts/_rels/slideLayout7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4.xml"/></Relationships>
</file>

<file path=ppt/slideLayouts/_rels/slideLayout7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5.xml"/></Relationships>
</file>

<file path=ppt/slideLayouts/_rels/slideLayout7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6.xml"/></Relationships>
</file>

<file path=ppt/slideLayouts/_rels/slideLayout7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7.xml"/></Relationships>
</file>

<file path=ppt/slideLayouts/_rels/slideLayout7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9.xml"/></Relationships>
</file>

<file path=ppt/slideLayouts/_rels/slideLayout8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0.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1.xml"/></Relationships>
</file>

<file path=ppt/slideLayouts/_rels/slideLayout8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2.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3.xml"/></Relationships>
</file>

<file path=ppt/slideLayouts/_rels/slideLayout8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4.xml"/></Relationships>
</file>

<file path=ppt/slideLayouts/_rels/slideLayout8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5.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6.xml"/></Relationships>
</file>

<file path=ppt/slideLayouts/_rels/slideLayout8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7.xml"/></Relationships>
</file>

<file path=ppt/slideLayouts/_rels/slideLayout8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8.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2.xml"/><Relationship Id="rId5" Type="http://schemas.openxmlformats.org/officeDocument/2006/relationships/image" Target="../media/image3.png"/><Relationship Id="rId4" Type="http://schemas.openxmlformats.org/officeDocument/2006/relationships/image" Target="../media/image6.png"/></Relationships>
</file>

<file path=ppt/slideLayouts/_rels/slideLayout9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39.xml"/></Relationships>
</file>

<file path=ppt/slideLayouts/_rels/slideLayout9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0.xml"/></Relationships>
</file>

<file path=ppt/slideLayouts/_rels/slideLayout9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1.xml"/></Relationships>
</file>

<file path=ppt/slideLayouts/_rels/slideLayout9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2.xml"/></Relationships>
</file>

<file path=ppt/slideLayouts/_rels/slideLayout9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3.xml"/></Relationships>
</file>

<file path=ppt/slideLayouts/_rels/slideLayout9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4.xml"/></Relationships>
</file>

<file path=ppt/slideLayouts/_rels/slideLayout9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5.xml"/></Relationships>
</file>

<file path=ppt/slideLayouts/_rels/slideLayout9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6.xml"/></Relationships>
</file>

<file path=ppt/slideLayouts/_rels/slideLayout9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7.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4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ront Cover Slide - Fibre Optic ">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cstate="email">
            <a:extLst>
              <a:ext uri="{28A0092B-C50C-407E-A947-70E740481C1C}">
                <a14:useLocalDpi xmlns:a14="http://schemas.microsoft.com/office/drawing/2010/main"/>
              </a:ext>
            </a:extLst>
          </a:blip>
          <a:srcRect l="-38"/>
          <a:stretch/>
        </p:blipFill>
        <p:spPr>
          <a:xfrm>
            <a:off x="0" y="15589"/>
            <a:ext cx="12192000" cy="4708829"/>
          </a:xfrm>
          <a:prstGeom prst="rect">
            <a:avLst/>
          </a:prstGeom>
        </p:spPr>
      </p:pic>
      <p:pic>
        <p:nvPicPr>
          <p:cNvPr id="24" name="Picture 23"/>
          <p:cNvPicPr>
            <a:picLocks noChangeAspect="1"/>
          </p:cNvPicPr>
          <p:nvPr userDrawn="1"/>
        </p:nvPicPr>
        <p:blipFill rotWithShape="1">
          <a:blip r:embed="rId3"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10" name="Rounded Rectangle 9"/>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11" name="Straight Connector 10"/>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2" name="Rounded Rectangle 11"/>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13" name="Straight Connector 12"/>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4" name="Rounded Rectangle 13"/>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5" name="TextBox 14"/>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16" name="Picture 15"/>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17" name="Straight Connector 16"/>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fld id="{F47BFBC2-D8BC-8A4E-B07D-C5EC72FEF2B2}" type="datetime2">
              <a:rPr lang="en-GB" smtClean="0"/>
              <a:pPr/>
              <a:t>Sunday, 17 July 2022</a:t>
            </a:fld>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FRONT COVER SLIDE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FRONT COVER SUB HEADING | UPPERCASE ONLY | 18PT</a:t>
            </a:r>
          </a:p>
        </p:txBody>
      </p:sp>
      <p:sp>
        <p:nvSpPr>
          <p:cNvPr id="25" name="Rectangle 24"/>
          <p:cNvSpPr/>
          <p:nvPr userDrawn="1"/>
        </p:nvSpPr>
        <p:spPr>
          <a:xfrm>
            <a:off x="0" y="4730154"/>
            <a:ext cx="12191999" cy="282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6" name="Straight Connector 25"/>
          <p:cNvCxnSpPr/>
          <p:nvPr userDrawn="1"/>
        </p:nvCxnSpPr>
        <p:spPr>
          <a:xfrm>
            <a:off x="0" y="4715383"/>
            <a:ext cx="12192000" cy="0"/>
          </a:xfrm>
          <a:prstGeom prst="line">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53" name="Picture 5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2" name="Picture 1"/>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Tree>
    <p:extLst>
      <p:ext uri="{BB962C8B-B14F-4D97-AF65-F5344CB8AC3E}">
        <p14:creationId xmlns:p14="http://schemas.microsoft.com/office/powerpoint/2010/main" val="6977858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 Finance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accent5"/>
              </a:gs>
              <a:gs pos="100000">
                <a:schemeClr val="accent5">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fld id="{F47BFBC2-D8BC-8A4E-B07D-C5EC72FEF2B2}" type="datetime2">
              <a:rPr lang="en-GB" smtClean="0"/>
              <a:pPr/>
              <a:t>Sunday, 17 July 2022</a:t>
            </a:fld>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FINANCE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FINANCE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4" name="Rectangle 93"/>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5" name="Straight Connector 94"/>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 Legal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accent1"/>
              </a:gs>
              <a:gs pos="99000">
                <a:schemeClr val="accent1">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fld id="{F47BFBC2-D8BC-8A4E-B07D-C5EC72FEF2B2}" type="datetime2">
              <a:rPr lang="en-GB" smtClean="0"/>
              <a:pPr/>
              <a:t>Sunday, 17 July 2022</a:t>
            </a:fld>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LEGAL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LEGAL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4" name="Rectangle 93"/>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5" name="Straight Connector 94"/>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 Strategy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accent3"/>
              </a:gs>
              <a:gs pos="100000">
                <a:schemeClr val="accent3">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fld id="{F47BFBC2-D8BC-8A4E-B07D-C5EC72FEF2B2}" type="datetime2">
              <a:rPr lang="en-GB" smtClean="0"/>
              <a:pPr/>
              <a:t>Sunday, 17 July 2022</a:t>
            </a:fld>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STRATEGY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STRATEGY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4" name="Rectangle 93"/>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5" name="Straight Connector 94"/>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8. LLA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9. LLA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21. LLA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22. LLA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1. Orange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a:p>
        </p:txBody>
      </p:sp>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fld id="{F47BFBC2-D8BC-8A4E-B07D-C5EC72FEF2B2}" type="datetime2">
              <a:rPr lang="en-GB" smtClean="0"/>
              <a:pPr/>
              <a:t>Sunday, 17 July 2022</a:t>
            </a:fld>
            <a:endParaRPr lang="en-US"/>
          </a:p>
        </p:txBody>
      </p:sp>
      <p:sp>
        <p:nvSpPr>
          <p:cNvPr id="21" name="Title 1"/>
          <p:cNvSpPr>
            <a:spLocks noGrp="1"/>
          </p:cNvSpPr>
          <p:nvPr>
            <p:ph type="title" hasCustomPrompt="1"/>
          </p:nvPr>
        </p:nvSpPr>
        <p:spPr>
          <a:xfrm>
            <a:off x="609601" y="4159432"/>
            <a:ext cx="9939866" cy="529167"/>
          </a:xfrm>
          <a:prstGeom prst="rect">
            <a:avLst/>
          </a:prstGeom>
        </p:spPr>
        <p:txBody>
          <a:bodyPr lIns="0" tIns="0" rIns="0" bIns="0" anchor="b"/>
          <a:lstStyle>
            <a:lvl1pPr>
              <a:defRPr baseline="0"/>
            </a:lvl1pPr>
          </a:lstStyle>
          <a:p>
            <a:r>
              <a:rPr lang="en-US"/>
              <a:t>GENERAL DIVIDER | UPPERCASE ONLY | 32PT</a:t>
            </a:r>
          </a:p>
        </p:txBody>
      </p:sp>
      <p:sp>
        <p:nvSpPr>
          <p:cNvPr id="9" name="Text Placeholder 8"/>
          <p:cNvSpPr>
            <a:spLocks noGrp="1"/>
          </p:cNvSpPr>
          <p:nvPr>
            <p:ph type="body" sz="quarter" idx="11" hasCustomPrompt="1"/>
          </p:nvPr>
        </p:nvSpPr>
        <p:spPr>
          <a:xfrm>
            <a:off x="609599" y="5385516"/>
            <a:ext cx="9939867" cy="345184"/>
          </a:xfrm>
          <a:prstGeom prst="rect">
            <a:avLst/>
          </a:prstGeom>
        </p:spPr>
        <p:txBody>
          <a:bodyPr lIns="0" tIns="0" rIns="0" bIns="0"/>
          <a:lstStyle>
            <a:lvl1pPr>
              <a:defRPr sz="1800" baseline="0"/>
            </a:lvl1pPr>
          </a:lstStyle>
          <a:p>
            <a:pPr lvl="0"/>
            <a:r>
              <a:rPr lang="en-US"/>
              <a:t>GENERAL DIVIDER SUB HEADING | UPPERCASE ONLY | 18PT</a:t>
            </a:r>
          </a:p>
        </p:txBody>
      </p:sp>
      <p:sp>
        <p:nvSpPr>
          <p:cNvPr id="96" name="Rectangle 95"/>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7" name="Straight Connector 96"/>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876345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23. LLA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bg2"/>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FFC000"/>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24. LLA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5825" y="1472868"/>
            <a:ext cx="1739900" cy="1189037"/>
          </a:xfrm>
          <a:prstGeom prst="ellipse">
            <a:avLst/>
          </a:prstGeom>
          <a:solidFill>
            <a:schemeClr val="bg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25. LLA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5"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6. LLA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title" preserve="1">
  <p:cSld name="27. LLA Slide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Tree>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28. LLA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939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9. LLA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5000507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 HR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72691002"/>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2"/>
                          </a:solidFill>
                        </a:rPr>
                        <a:t>INTRODUCTION. 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2"/>
                          </a:solidFill>
                        </a:rPr>
                        <a:t>FIRST TOPIC HERE</a:t>
                      </a:r>
                      <a:r>
                        <a:rPr lang="en-US" sz="1200" baseline="0">
                          <a:solidFill>
                            <a:schemeClr val="accent2"/>
                          </a:solidFill>
                        </a:rPr>
                        <a:t>. </a:t>
                      </a:r>
                      <a:r>
                        <a:rPr lang="en-US" sz="1200">
                          <a:solidFill>
                            <a:schemeClr val="accent2"/>
                          </a:solidFill>
                        </a:rPr>
                        <a:t>UPPERCASE</a:t>
                      </a:r>
                      <a:r>
                        <a:rPr lang="en-US" sz="1200" baseline="0">
                          <a:solidFill>
                            <a:schemeClr val="accent2"/>
                          </a:solidFill>
                        </a:rPr>
                        <a:t> ONLY. PURPLE. </a:t>
                      </a:r>
                      <a:r>
                        <a:rPr lang="en-US" sz="1200">
                          <a:solidFill>
                            <a:schemeClr val="accent2"/>
                          </a:solidFill>
                        </a:rPr>
                        <a:t>12PT</a:t>
                      </a:r>
                      <a:endParaRPr lang="en-US" sz="1200" baseline="0">
                        <a:solidFill>
                          <a:schemeClr val="accent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2"/>
                          </a:solidFill>
                        </a:rPr>
                        <a:t>SECOND</a:t>
                      </a:r>
                      <a:r>
                        <a:rPr lang="en-US" sz="1200" baseline="0">
                          <a:solidFill>
                            <a:schemeClr val="accent2"/>
                          </a:solidFill>
                        </a:rPr>
                        <a:t> TOPIC HERE. </a:t>
                      </a:r>
                      <a:r>
                        <a:rPr lang="en-US" sz="1200">
                          <a:solidFill>
                            <a:schemeClr val="accent2"/>
                          </a:solidFill>
                        </a:rPr>
                        <a:t>UPPERCASE</a:t>
                      </a:r>
                      <a:r>
                        <a:rPr lang="en-US" sz="1200" baseline="0">
                          <a:solidFill>
                            <a:schemeClr val="accent2"/>
                          </a:solidFill>
                        </a:rPr>
                        <a:t> ONLY. PURPLE. </a:t>
                      </a:r>
                      <a:r>
                        <a:rPr lang="en-US" sz="1200">
                          <a:solidFill>
                            <a:schemeClr val="accent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2"/>
                          </a:solidFill>
                        </a:rPr>
                        <a:t>THIRD TOPIC HERE. 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2"/>
                          </a:solidFill>
                        </a:rPr>
                        <a:t>FOURTH TOPIC HERE. 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2"/>
                          </a:solidFill>
                        </a:rPr>
                        <a:t>FIFTH TOPIC HERE. UPPERCASE</a:t>
                      </a:r>
                      <a:r>
                        <a:rPr lang="en-US" sz="1200" baseline="0">
                          <a:solidFill>
                            <a:schemeClr val="accent2"/>
                          </a:solidFill>
                        </a:rPr>
                        <a:t> ONLY. PURPLE. </a:t>
                      </a:r>
                      <a:r>
                        <a:rPr lang="en-US" sz="1200">
                          <a:solidFill>
                            <a:schemeClr val="accent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2"/>
                          </a:solidFill>
                        </a:rPr>
                        <a:t>SIXTH TOPIC HERE.</a:t>
                      </a:r>
                      <a:r>
                        <a:rPr lang="en-US" sz="1200" baseline="0">
                          <a:solidFill>
                            <a:schemeClr val="accent2"/>
                          </a:solidFill>
                        </a:rPr>
                        <a:t> </a:t>
                      </a:r>
                      <a:r>
                        <a:rPr lang="en-US" sz="1200">
                          <a:solidFill>
                            <a:schemeClr val="accent2"/>
                          </a:solidFill>
                        </a:rPr>
                        <a:t>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2"/>
                          </a:solidFill>
                        </a:rPr>
                        <a:t>SEVENTH</a:t>
                      </a:r>
                      <a:r>
                        <a:rPr lang="en-US" sz="1200" baseline="0">
                          <a:solidFill>
                            <a:schemeClr val="accent2"/>
                          </a:solidFill>
                        </a:rPr>
                        <a:t> TOPIC HERE. </a:t>
                      </a:r>
                      <a:r>
                        <a:rPr lang="en-US" sz="1200">
                          <a:solidFill>
                            <a:schemeClr val="accent2"/>
                          </a:solidFill>
                        </a:rPr>
                        <a:t>UPPERCASE</a:t>
                      </a:r>
                      <a:r>
                        <a:rPr lang="en-US" sz="1200" baseline="0">
                          <a:solidFill>
                            <a:schemeClr val="accent2"/>
                          </a:solidFill>
                        </a:rPr>
                        <a:t> ONLY. PURPLE. </a:t>
                      </a:r>
                      <a:r>
                        <a:rPr lang="en-US" sz="1200">
                          <a:solidFill>
                            <a:schemeClr val="accent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HR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3. HR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4. HR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77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5. HR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6. HR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2">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2"/>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7. HR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2">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8. HR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179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2">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2">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37" name="Text Placeholder 5"/>
          <p:cNvSpPr>
            <a:spLocks noGrp="1"/>
          </p:cNvSpPr>
          <p:nvPr>
            <p:ph type="body" sz="quarter" idx="24" hasCustomPrompt="1"/>
          </p:nvPr>
        </p:nvSpPr>
        <p:spPr>
          <a:xfrm>
            <a:off x="1232815" y="3524598"/>
            <a:ext cx="1672617" cy="396240"/>
          </a:xfrm>
          <a:prstGeom prst="rect">
            <a:avLst/>
          </a:prstGeom>
          <a:solidFill>
            <a:schemeClr val="accent2">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38" name="Text Placeholder 5"/>
          <p:cNvSpPr>
            <a:spLocks noGrp="1"/>
          </p:cNvSpPr>
          <p:nvPr>
            <p:ph type="body" sz="quarter" idx="25" hasCustomPrompt="1"/>
          </p:nvPr>
        </p:nvSpPr>
        <p:spPr>
          <a:xfrm>
            <a:off x="3215559" y="3524598"/>
            <a:ext cx="1672617" cy="396240"/>
          </a:xfrm>
          <a:prstGeom prst="rect">
            <a:avLst/>
          </a:prstGeom>
          <a:solidFill>
            <a:schemeClr val="accent2">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39"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0"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1"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4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9. HR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0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2">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2">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2">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2">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0. HR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77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2">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2">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2">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2">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2">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2">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2">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2">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11. HR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13. HR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4. HR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5. HR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6. HR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1452713722"/>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17. HR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1662159814"/>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8. HR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56233"/>
            <a:ext cx="9966660" cy="5866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9. HR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1. HR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2. HR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7971"/>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23. HR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47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2">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2">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2">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2">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2">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24. HR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648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2">
              <a:lumMod val="20000"/>
              <a:lumOff val="8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2">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2">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2">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25. HR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26. HR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52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27. HR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77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28. HR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29. HR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1. Finance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812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56980608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5"/>
                          </a:solidFill>
                        </a:rPr>
                        <a:t>INTRODUCTION. 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5"/>
                          </a:solidFill>
                        </a:rPr>
                        <a:t>FIRST TOPIC HERE</a:t>
                      </a:r>
                      <a:r>
                        <a:rPr lang="en-US" sz="1200" baseline="0">
                          <a:solidFill>
                            <a:schemeClr val="accent5"/>
                          </a:solidFill>
                        </a:rPr>
                        <a:t>. </a:t>
                      </a:r>
                      <a:r>
                        <a:rPr lang="en-US" sz="1200">
                          <a:solidFill>
                            <a:schemeClr val="accent5"/>
                          </a:solidFill>
                        </a:rPr>
                        <a:t>UPPERCASE</a:t>
                      </a:r>
                      <a:r>
                        <a:rPr lang="en-US" sz="1200" baseline="0">
                          <a:solidFill>
                            <a:schemeClr val="accent5"/>
                          </a:solidFill>
                        </a:rPr>
                        <a:t> ONLY. GREEN. </a:t>
                      </a:r>
                      <a:r>
                        <a:rPr lang="en-US" sz="1200">
                          <a:solidFill>
                            <a:schemeClr val="accent5"/>
                          </a:solidFill>
                        </a:rPr>
                        <a:t>12PT</a:t>
                      </a:r>
                      <a:endParaRPr lang="en-US" sz="1200" baseline="0">
                        <a:solidFill>
                          <a:schemeClr val="accent5"/>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5"/>
                          </a:solidFill>
                        </a:rPr>
                        <a:t>SECOND</a:t>
                      </a:r>
                      <a:r>
                        <a:rPr lang="en-US" sz="1200" baseline="0">
                          <a:solidFill>
                            <a:schemeClr val="accent5"/>
                          </a:solidFill>
                        </a:rPr>
                        <a:t> TOPIC HERE. </a:t>
                      </a:r>
                      <a:r>
                        <a:rPr lang="en-US" sz="1200">
                          <a:solidFill>
                            <a:schemeClr val="accent5"/>
                          </a:solidFill>
                        </a:rPr>
                        <a:t>UPPERCASE</a:t>
                      </a:r>
                      <a:r>
                        <a:rPr lang="en-US" sz="1200" baseline="0">
                          <a:solidFill>
                            <a:schemeClr val="accent5"/>
                          </a:solidFill>
                        </a:rPr>
                        <a:t> ONLY. GREEN. </a:t>
                      </a:r>
                      <a:r>
                        <a:rPr lang="en-US" sz="1200">
                          <a:solidFill>
                            <a:schemeClr val="accent5"/>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5"/>
                          </a:solidFill>
                        </a:rPr>
                        <a:t>THIRD TOPIC HERE. 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5"/>
                          </a:solidFill>
                        </a:rPr>
                        <a:t>FOURTH TOPIC HERE. 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5"/>
                          </a:solidFill>
                        </a:rPr>
                        <a:t>FIFTH TOPIC HERE. UPPERCASE</a:t>
                      </a:r>
                      <a:r>
                        <a:rPr lang="en-US" sz="1200" baseline="0">
                          <a:solidFill>
                            <a:schemeClr val="accent5"/>
                          </a:solidFill>
                        </a:rPr>
                        <a:t> ONLY. GREEN. </a:t>
                      </a:r>
                      <a:r>
                        <a:rPr lang="en-US" sz="1200">
                          <a:solidFill>
                            <a:schemeClr val="accent5"/>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5"/>
                          </a:solidFill>
                        </a:rPr>
                        <a:t>SIXTH TOPIC HERE.</a:t>
                      </a:r>
                      <a:r>
                        <a:rPr lang="en-US" sz="1200" baseline="0">
                          <a:solidFill>
                            <a:schemeClr val="accent5"/>
                          </a:solidFill>
                        </a:rPr>
                        <a:t> </a:t>
                      </a:r>
                      <a:r>
                        <a:rPr lang="en-US" sz="1200">
                          <a:solidFill>
                            <a:schemeClr val="accent5"/>
                          </a:solidFill>
                        </a:rPr>
                        <a:t>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5"/>
                          </a:solidFill>
                        </a:rPr>
                        <a:t>SEVENTH</a:t>
                      </a:r>
                      <a:r>
                        <a:rPr lang="en-US" sz="1200" baseline="0">
                          <a:solidFill>
                            <a:schemeClr val="accent5"/>
                          </a:solidFill>
                        </a:rPr>
                        <a:t> TOPIC HERE. </a:t>
                      </a:r>
                      <a:r>
                        <a:rPr lang="en-US" sz="1200">
                          <a:solidFill>
                            <a:schemeClr val="accent5"/>
                          </a:solidFill>
                        </a:rPr>
                        <a:t>UPPERCASE</a:t>
                      </a:r>
                      <a:r>
                        <a:rPr lang="en-US" sz="1200" baseline="0">
                          <a:solidFill>
                            <a:schemeClr val="accent5"/>
                          </a:solidFill>
                        </a:rPr>
                        <a:t> ONLY. GREEN. </a:t>
                      </a:r>
                      <a:r>
                        <a:rPr lang="en-US" sz="1200">
                          <a:solidFill>
                            <a:schemeClr val="accent5"/>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5"/>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2. Finance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3. Finance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4. Finance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5. Finance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6. Finance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5">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5"/>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7. Finance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5">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5">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8. Finance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179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5">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5">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37" name="Text Placeholder 5"/>
          <p:cNvSpPr>
            <a:spLocks noGrp="1"/>
          </p:cNvSpPr>
          <p:nvPr>
            <p:ph type="body" sz="quarter" idx="24" hasCustomPrompt="1"/>
          </p:nvPr>
        </p:nvSpPr>
        <p:spPr>
          <a:xfrm>
            <a:off x="1232815" y="3524598"/>
            <a:ext cx="1672617" cy="396240"/>
          </a:xfrm>
          <a:prstGeom prst="rect">
            <a:avLst/>
          </a:prstGeom>
          <a:solidFill>
            <a:schemeClr val="accent5">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38" name="Text Placeholder 5"/>
          <p:cNvSpPr>
            <a:spLocks noGrp="1"/>
          </p:cNvSpPr>
          <p:nvPr>
            <p:ph type="body" sz="quarter" idx="25" hasCustomPrompt="1"/>
          </p:nvPr>
        </p:nvSpPr>
        <p:spPr>
          <a:xfrm>
            <a:off x="3215559" y="3524598"/>
            <a:ext cx="1672617" cy="396240"/>
          </a:xfrm>
          <a:prstGeom prst="rect">
            <a:avLst/>
          </a:prstGeom>
          <a:solidFill>
            <a:schemeClr val="accent5">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39" name="Text Placeholder 5"/>
          <p:cNvSpPr>
            <a:spLocks noGrp="1"/>
          </p:cNvSpPr>
          <p:nvPr>
            <p:ph type="body" sz="quarter" idx="26" hasCustomPrompt="1"/>
          </p:nvPr>
        </p:nvSpPr>
        <p:spPr>
          <a:xfrm>
            <a:off x="520801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TIME</a:t>
            </a:r>
          </a:p>
        </p:txBody>
      </p:sp>
      <p:sp>
        <p:nvSpPr>
          <p:cNvPr id="40"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1"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4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9. Finance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5">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5">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5">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5">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0. Finance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85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5">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5">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5">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5">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5">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5">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11. Finance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3. Finance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4. Finance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15. Finance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16. Finance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1369383175"/>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5"/>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5"/>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17. Finance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640777326"/>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5"/>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18. Finance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19. Finance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21. Finance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22. Finance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23. Finance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28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5">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5">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5">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24. Finance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648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5">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5">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5">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25. Finance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26. Finance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66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27. Finance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8. Finance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29. Finance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5"/>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 Legal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1460357707"/>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1"/>
                          </a:solidFill>
                        </a:rPr>
                        <a:t>INTRODUCTION. 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rPr>
                        <a:t>FIRST TOPIC HERE</a:t>
                      </a:r>
                      <a:r>
                        <a:rPr lang="en-US" sz="1200" baseline="0">
                          <a:solidFill>
                            <a:schemeClr val="accent1"/>
                          </a:solidFill>
                        </a:rPr>
                        <a:t>. </a:t>
                      </a:r>
                      <a:r>
                        <a:rPr lang="en-US" sz="1200">
                          <a:solidFill>
                            <a:schemeClr val="accent1"/>
                          </a:solidFill>
                        </a:rPr>
                        <a:t>UPPERCASE</a:t>
                      </a:r>
                      <a:r>
                        <a:rPr lang="en-US" sz="1200" baseline="0">
                          <a:solidFill>
                            <a:schemeClr val="accent1"/>
                          </a:solidFill>
                        </a:rPr>
                        <a:t> ONLY. BLUE. </a:t>
                      </a:r>
                      <a:r>
                        <a:rPr lang="en-US" sz="1200">
                          <a:solidFill>
                            <a:schemeClr val="accent1"/>
                          </a:solidFill>
                        </a:rPr>
                        <a:t>12PT</a:t>
                      </a:r>
                      <a:endParaRPr lang="en-US" sz="1200" baseline="0">
                        <a:solidFill>
                          <a:schemeClr val="accent1"/>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1"/>
                          </a:solidFill>
                        </a:rPr>
                        <a:t>SECOND</a:t>
                      </a:r>
                      <a:r>
                        <a:rPr lang="en-US" sz="1200" baseline="0">
                          <a:solidFill>
                            <a:schemeClr val="accent1"/>
                          </a:solidFill>
                        </a:rPr>
                        <a:t> TOPIC HERE. </a:t>
                      </a:r>
                      <a:r>
                        <a:rPr lang="en-US" sz="1200">
                          <a:solidFill>
                            <a:schemeClr val="accent1"/>
                          </a:solidFill>
                        </a:rPr>
                        <a:t>UPPERCASE</a:t>
                      </a:r>
                      <a:r>
                        <a:rPr lang="en-US" sz="1200" baseline="0">
                          <a:solidFill>
                            <a:schemeClr val="accent1"/>
                          </a:solidFill>
                        </a:rPr>
                        <a:t> ONLY. BLUE. </a:t>
                      </a:r>
                      <a:r>
                        <a:rPr lang="en-US" sz="1200">
                          <a:solidFill>
                            <a:schemeClr val="accent1"/>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1"/>
                          </a:solidFill>
                        </a:rPr>
                        <a:t>THIRD TOPIC HERE. 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1"/>
                          </a:solidFill>
                        </a:rPr>
                        <a:t>FOURTH TOPIC HERE. 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1"/>
                          </a:solidFill>
                        </a:rPr>
                        <a:t>FIFTH TOPIC HERE. UPPERCASE</a:t>
                      </a:r>
                      <a:r>
                        <a:rPr lang="en-US" sz="1200" baseline="0">
                          <a:solidFill>
                            <a:schemeClr val="accent1"/>
                          </a:solidFill>
                        </a:rPr>
                        <a:t> ONLY. BLUE. </a:t>
                      </a:r>
                      <a:r>
                        <a:rPr lang="en-US" sz="1200">
                          <a:solidFill>
                            <a:schemeClr val="accent1"/>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1"/>
                          </a:solidFill>
                        </a:rPr>
                        <a:t>SIXTH TOPIC HERE.</a:t>
                      </a:r>
                      <a:r>
                        <a:rPr lang="en-US" sz="1200" baseline="0">
                          <a:solidFill>
                            <a:schemeClr val="accent1"/>
                          </a:solidFill>
                        </a:rPr>
                        <a:t> </a:t>
                      </a:r>
                      <a:r>
                        <a:rPr lang="en-US" sz="1200">
                          <a:solidFill>
                            <a:schemeClr val="accent1"/>
                          </a:solidFill>
                        </a:rPr>
                        <a:t>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1"/>
                          </a:solidFill>
                        </a:rPr>
                        <a:t>SEVENTH</a:t>
                      </a:r>
                      <a:r>
                        <a:rPr lang="en-US" sz="1200" baseline="0">
                          <a:solidFill>
                            <a:schemeClr val="accent1"/>
                          </a:solidFill>
                        </a:rPr>
                        <a:t> TOPIC HERE. </a:t>
                      </a:r>
                      <a:r>
                        <a:rPr lang="en-US" sz="1200">
                          <a:solidFill>
                            <a:schemeClr val="accent1"/>
                          </a:solidFill>
                        </a:rPr>
                        <a:t>UPPERCASE</a:t>
                      </a:r>
                      <a:r>
                        <a:rPr lang="en-US" sz="1200" baseline="0">
                          <a:solidFill>
                            <a:schemeClr val="accent1"/>
                          </a:solidFill>
                        </a:rPr>
                        <a:t> ONLY. BLUE. </a:t>
                      </a:r>
                      <a:r>
                        <a:rPr lang="en-US" sz="1200">
                          <a:solidFill>
                            <a:schemeClr val="accent1"/>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1"/>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2. Legal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3. Legal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4. Legal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5. Legal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6. Legal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1">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7. Legal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220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1">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1">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userDrawn="1">
  <p:cSld name="8. Legal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1">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37" name="Text Placeholder 5"/>
          <p:cNvSpPr>
            <a:spLocks noGrp="1"/>
          </p:cNvSpPr>
          <p:nvPr>
            <p:ph type="body" sz="quarter" idx="24" hasCustomPrompt="1"/>
          </p:nvPr>
        </p:nvSpPr>
        <p:spPr>
          <a:xfrm>
            <a:off x="1232815" y="3524598"/>
            <a:ext cx="1672617" cy="396240"/>
          </a:xfrm>
          <a:prstGeom prst="rect">
            <a:avLst/>
          </a:prstGeom>
          <a:solidFill>
            <a:schemeClr val="accent1">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38" name="Text Placeholder 5"/>
          <p:cNvSpPr>
            <a:spLocks noGrp="1"/>
          </p:cNvSpPr>
          <p:nvPr>
            <p:ph type="body" sz="quarter" idx="25" hasCustomPrompt="1"/>
          </p:nvPr>
        </p:nvSpPr>
        <p:spPr>
          <a:xfrm>
            <a:off x="3215559" y="3524598"/>
            <a:ext cx="1672617" cy="396240"/>
          </a:xfrm>
          <a:prstGeom prst="rect">
            <a:avLst/>
          </a:prstGeom>
          <a:solidFill>
            <a:schemeClr val="accent1">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39" name="Text Placeholder 5"/>
          <p:cNvSpPr>
            <a:spLocks noGrp="1"/>
          </p:cNvSpPr>
          <p:nvPr>
            <p:ph type="body" sz="quarter" idx="26" hasCustomPrompt="1"/>
          </p:nvPr>
        </p:nvSpPr>
        <p:spPr>
          <a:xfrm>
            <a:off x="5208012"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TIME</a:t>
            </a:r>
          </a:p>
        </p:txBody>
      </p:sp>
      <p:sp>
        <p:nvSpPr>
          <p:cNvPr id="40"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1"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4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ront Cover Slide - Market OpCo">
    <p:spTree>
      <p:nvGrpSpPr>
        <p:cNvPr id="1" name=""/>
        <p:cNvGrpSpPr/>
        <p:nvPr/>
      </p:nvGrpSpPr>
      <p:grpSpPr>
        <a:xfrm>
          <a:off x="0" y="0"/>
          <a:ext cx="0" cy="0"/>
          <a:chOff x="0" y="0"/>
          <a:chExt cx="0" cy="0"/>
        </a:xfrm>
      </p:grpSpPr>
      <p:pic>
        <p:nvPicPr>
          <p:cNvPr id="20" name="Picture 1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1999" cy="4719045"/>
          </a:xfrm>
          <a:prstGeom prst="rect">
            <a:avLst/>
          </a:prstGeom>
        </p:spPr>
      </p:pic>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fld id="{F47BFBC2-D8BC-8A4E-B07D-C5EC72FEF2B2}" type="datetime2">
              <a:rPr lang="en-GB" smtClean="0"/>
              <a:pPr/>
              <a:t>Sunday, 17 July 2022</a:t>
            </a:fld>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FRONT COVER SLIDE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FRONT COVER SUB HEADING | UPPERCASE ONLY | 18PT</a:t>
            </a:r>
          </a:p>
        </p:txBody>
      </p:sp>
      <p:pic>
        <p:nvPicPr>
          <p:cNvPr id="57" name="Picture 56"/>
          <p:cNvPicPr>
            <a:picLocks noChangeAspect="1"/>
          </p:cNvPicPr>
          <p:nvPr userDrawn="1"/>
        </p:nvPicPr>
        <p:blipFill rotWithShape="1">
          <a:blip r:embed="rId6"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116" name="Rectangle 115"/>
          <p:cNvSpPr/>
          <p:nvPr userDrawn="1"/>
        </p:nvSpPr>
        <p:spPr>
          <a:xfrm>
            <a:off x="0" y="4730154"/>
            <a:ext cx="12191999" cy="28269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117" name="Straight Connector 116"/>
          <p:cNvCxnSpPr/>
          <p:nvPr userDrawn="1"/>
        </p:nvCxnSpPr>
        <p:spPr>
          <a:xfrm>
            <a:off x="0" y="4715383"/>
            <a:ext cx="12191999" cy="0"/>
          </a:xfrm>
          <a:prstGeom prst="line">
            <a:avLst/>
          </a:prstGeom>
          <a:ln w="38100">
            <a:solidFill>
              <a:schemeClr val="tx1"/>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9. Legal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1">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1">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0. Legal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1">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1">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1">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1">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1">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11. Legal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13. Legal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14. Legal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15. Legal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6. Legal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5829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2039766064"/>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1"/>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7. Legal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1372149650"/>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8. Legal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9. Legal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21. Legal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22. Legal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23. Legal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1"/>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1">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1">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1">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1">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24. Legal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1">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1">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1">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25. Legal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26. Legal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27. Legal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28. Legal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9. Legal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1"/>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 Strategy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655285000"/>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3"/>
                          </a:solidFill>
                        </a:rPr>
                        <a:t>INTRODUCTION.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FIRST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endParaRPr lang="en-US" sz="1200" baseline="0">
                        <a:solidFill>
                          <a:schemeClr val="accent3"/>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3"/>
                          </a:solidFill>
                        </a:rPr>
                        <a:t>SECOND</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3"/>
                          </a:solidFill>
                        </a:rPr>
                        <a:t>THIRD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3"/>
                          </a:solidFill>
                        </a:rPr>
                        <a:t>FOURTH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3"/>
                          </a:solidFill>
                        </a:rPr>
                        <a:t>FIFTH TOPIC HERE. 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SIXTH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3"/>
                          </a:solidFill>
                        </a:rPr>
                        <a:t>SEVENTH</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2. Strategy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3. Strategy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4. Strategy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5. Strategy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6. Strategy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3">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3"/>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7. Strategy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3">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3">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8. Strategy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51750"/>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42" name="Text Placeholder 5"/>
          <p:cNvSpPr>
            <a:spLocks noGrp="1"/>
          </p:cNvSpPr>
          <p:nvPr>
            <p:ph type="body" sz="quarter" idx="24" hasCustomPrompt="1"/>
          </p:nvPr>
        </p:nvSpPr>
        <p:spPr>
          <a:xfrm>
            <a:off x="1232815" y="3524598"/>
            <a:ext cx="1672617" cy="396240"/>
          </a:xfrm>
          <a:prstGeom prst="rect">
            <a:avLst/>
          </a:prstGeom>
          <a:solidFill>
            <a:schemeClr val="accent3">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43" name="Text Placeholder 5"/>
          <p:cNvSpPr>
            <a:spLocks noGrp="1"/>
          </p:cNvSpPr>
          <p:nvPr>
            <p:ph type="body" sz="quarter" idx="25" hasCustomPrompt="1"/>
          </p:nvPr>
        </p:nvSpPr>
        <p:spPr>
          <a:xfrm>
            <a:off x="3215559" y="3524598"/>
            <a:ext cx="1672617" cy="396240"/>
          </a:xfrm>
          <a:prstGeom prst="rect">
            <a:avLst/>
          </a:prstGeom>
          <a:solidFill>
            <a:schemeClr val="accent3">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44" name="Text Placeholder 5"/>
          <p:cNvSpPr>
            <a:spLocks noGrp="1"/>
          </p:cNvSpPr>
          <p:nvPr>
            <p:ph type="body" sz="quarter" idx="26" hasCustomPrompt="1"/>
          </p:nvPr>
        </p:nvSpPr>
        <p:spPr>
          <a:xfrm>
            <a:off x="5208012"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TIME</a:t>
            </a:r>
          </a:p>
        </p:txBody>
      </p:sp>
      <p:sp>
        <p:nvSpPr>
          <p:cNvPr id="45"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6"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9. Strategy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0. Strategy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11. Strategy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13. Strategy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4. Strategy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22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15. Strategy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16. Strategy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1078853184"/>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17. Strategy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1081031867"/>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18. Strategy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19. Strategy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1. Strategy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2. Strategy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7971"/>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3. Strategy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3">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3">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3">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3">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4. Strategy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3">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3">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3">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5. Strategy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248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6. Strategy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7. Strategy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8. Strategy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9. Strategy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BB288855-5E8B-4273-89DB-086F7E523175}"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67939292"/>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2. LLA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570D5F0-8565-4409-BBAA-586C5E85CE1A}"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56371572"/>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3. LLA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C1042085-1E44-4B45-9100-D882F4CC8189}" type="datetime2">
              <a:rPr lang="en-GB" sz="800" smtClean="0"/>
              <a:t>Sunday, 17 July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849886464"/>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0D07537B-FB55-41B9-AFCB-3F189F1BF975}"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072066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5. LLA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7227F19B-0898-414D-86DB-0740E239AD19}"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61717069"/>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13AB52D-C842-4B3F-B914-57CBE730716D}"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9800544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7. LLA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bg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0EE53AE3-EB7C-4CD0-A476-062A33E513B6}" type="datetime2">
              <a:rPr lang="en-GB" sz="800" smtClean="0"/>
              <a:t>Sunday, 17 July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67487968"/>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8. LLA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2FC6E8D-7FD5-4B70-9E84-826A18571EE7}" type="datetime2">
              <a:rPr lang="en-GB" sz="800" smtClean="0"/>
              <a:t>Sunday, 17 July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6" name="Text Placeholder 5"/>
          <p:cNvSpPr>
            <a:spLocks noGrp="1"/>
          </p:cNvSpPr>
          <p:nvPr>
            <p:ph type="body" sz="quarter" idx="24" hasCustomPrompt="1"/>
          </p:nvPr>
        </p:nvSpPr>
        <p:spPr>
          <a:xfrm>
            <a:off x="1232815" y="3524598"/>
            <a:ext cx="1672617" cy="396240"/>
          </a:xfrm>
          <a:prstGeom prst="rect">
            <a:avLst/>
          </a:prstGeom>
          <a:solidFill>
            <a:schemeClr val="bg2"/>
          </a:solidFill>
        </p:spPr>
        <p:txBody>
          <a:bodyPr anchor="ctr"/>
          <a:lstStyle>
            <a:lvl1pPr marL="0" indent="0" algn="ctr">
              <a:buNone/>
              <a:defRPr sz="1400">
                <a:solidFill>
                  <a:schemeClr val="bg1"/>
                </a:solidFill>
              </a:defRPr>
            </a:lvl1pPr>
          </a:lstStyle>
          <a:p>
            <a:pPr lvl="0"/>
            <a:r>
              <a:rPr lang="en-US"/>
              <a:t>RIGHT PEOPLE</a:t>
            </a:r>
          </a:p>
        </p:txBody>
      </p:sp>
      <p:sp>
        <p:nvSpPr>
          <p:cNvPr id="39" name="Text Placeholder 5"/>
          <p:cNvSpPr>
            <a:spLocks noGrp="1"/>
          </p:cNvSpPr>
          <p:nvPr>
            <p:ph type="body" sz="quarter" idx="25" hasCustomPrompt="1"/>
          </p:nvPr>
        </p:nvSpPr>
        <p:spPr>
          <a:xfrm>
            <a:off x="3215559"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PLACE</a:t>
            </a:r>
          </a:p>
        </p:txBody>
      </p:sp>
      <p:sp>
        <p:nvSpPr>
          <p:cNvPr id="40"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1" name="Text Placeholder 5"/>
          <p:cNvSpPr>
            <a:spLocks noGrp="1"/>
          </p:cNvSpPr>
          <p:nvPr>
            <p:ph type="body" sz="quarter" idx="27" hasCustomPrompt="1"/>
          </p:nvPr>
        </p:nvSpPr>
        <p:spPr>
          <a:xfrm>
            <a:off x="7176317"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RESULTS</a:t>
            </a:r>
          </a:p>
        </p:txBody>
      </p:sp>
      <p:sp>
        <p:nvSpPr>
          <p:cNvPr id="42" name="Text Placeholder 5"/>
          <p:cNvSpPr>
            <a:spLocks noGrp="1"/>
          </p:cNvSpPr>
          <p:nvPr>
            <p:ph type="body" sz="quarter" idx="28" hasCustomPrompt="1"/>
          </p:nvPr>
        </p:nvSpPr>
        <p:spPr>
          <a:xfrm>
            <a:off x="914462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27955082"/>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9. LLA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9FF72339-D293-45FD-B3C6-3BEAADA093A3}"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912590097"/>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10. LLA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1CFFE5AD-0205-4EDE-BCDC-833487E48999}"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rgbClr val="FFC000"/>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rgbClr val="FFC000"/>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72201925"/>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11. LLA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CC5191C8-CD8F-4485-822C-759AD3F9534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1547674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13. LLA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19688"/>
            <a:ext cx="9966660" cy="62318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F9B5D55-7123-4DB6-9607-78757291AF7C}" type="datetime2">
              <a:rPr lang="en-GB" sz="800" smtClean="0"/>
              <a:t>Sunday, 17 July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833080660"/>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14. LLA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10713818-4B50-4A94-9AB2-19D92C6685EF}"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3597368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15. LLA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BD4BB0F4-5FD4-454F-9A60-DBFE4C7F0D48}"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7553414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5BFC0C2-F680-43EC-B26C-07D94E7694D6}"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94336526"/>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C2C0B69F-17B8-47E8-BF3F-E36D67A52991}"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90999347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18. LLA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6D57C32-A17E-42B8-BF6B-16B9BF5B5A9D}"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705242672"/>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19. LLA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4A031256-FE62-4B40-BD00-5F1640105384}" type="datetime2">
              <a:rPr lang="en-GB" sz="800" smtClean="0"/>
              <a:t>Sunday, 17 July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06608690"/>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1. LLA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00D9D6AE-7328-4F65-8B39-7F3AD9931CB1}" type="datetime2">
              <a:rPr lang="en-GB" sz="800" smtClean="0"/>
              <a:t>Sunday, 17 July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4330747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22. LLA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5993266B-3829-4275-B715-6BF135E64469}" type="datetime2">
              <a:rPr lang="en-GB" sz="800" smtClean="0"/>
              <a:t>Sunday, 17 July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062377614"/>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23. LLA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bg2"/>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FFC000"/>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6FD981E7-4338-4442-8799-2DC78C972965}" type="datetime2">
              <a:rPr lang="en-GB" sz="800" smtClean="0"/>
              <a:t>Sunday, 17 July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1729699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24. LLA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5825" y="1472868"/>
            <a:ext cx="1739900" cy="1189037"/>
          </a:xfrm>
          <a:prstGeom prst="ellipse">
            <a:avLst/>
          </a:prstGeom>
          <a:solidFill>
            <a:schemeClr val="bg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DB37D2A4-345F-426C-A5B5-9A547449AE5E}" type="datetime2">
              <a:rPr lang="en-GB" sz="800" smtClean="0"/>
              <a:t>Sunday, 17 July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543013148"/>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5. LLA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B67EFD4-8572-44FD-873F-47A2870E61BC}" type="datetime2">
              <a:rPr lang="en-GB" sz="800" smtClean="0"/>
              <a:t>Sunday, 17 July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5"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6809837"/>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6. LLA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4514360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title" preserve="1">
  <p:cSld name="27. LLA Slide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D9532D36-7F0A-4016-B53E-0E9AA2D764A9}" type="datetime2">
              <a:rPr lang="en-GB" sz="800" smtClean="0"/>
              <a:t>Sunday, 17 July 2022</a:t>
            </a:fld>
            <a:r>
              <a:rPr lang="en-GB" sz="800"/>
              <a:t> |</a:t>
            </a:r>
            <a:endParaRPr lang="en-US"/>
          </a:p>
        </p:txBody>
      </p:sp>
    </p:spTree>
    <p:extLst>
      <p:ext uri="{BB962C8B-B14F-4D97-AF65-F5344CB8AC3E}">
        <p14:creationId xmlns:p14="http://schemas.microsoft.com/office/powerpoint/2010/main" val="2153312067"/>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28. LLA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939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E54D4BF-AC76-46B8-8C2F-AA5698D879AE}" type="datetime2">
              <a:rPr lang="en-GB" sz="800" smtClean="0"/>
              <a:t>Sunday, 17 July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035319247"/>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29. LLA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6F73198B-C5DE-41D6-9E4A-3F1B021F9DD4}" type="datetime2">
              <a:rPr lang="en-GB" sz="800" smtClean="0"/>
              <a:t>Sunday, 17 July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08143817"/>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a:p>
        </p:txBody>
      </p:sp>
      <p:sp>
        <p:nvSpPr>
          <p:cNvPr id="7" name="Footer Placeholder 2"/>
          <p:cNvSpPr>
            <a:spLocks noGrp="1"/>
          </p:cNvSpPr>
          <p:nvPr>
            <p:ph type="ftr" sz="quarter" idx="3"/>
          </p:nvPr>
        </p:nvSpPr>
        <p:spPr>
          <a:xfrm>
            <a:off x="8831790" y="6474295"/>
            <a:ext cx="2407710" cy="100027"/>
          </a:xfrm>
          <a:prstGeom prst="rect">
            <a:avLst/>
          </a:prstGeom>
        </p:spPr>
        <p:txBody>
          <a:bodyPr vert="horz" wrap="none" lIns="0" tIns="0" rIns="0" bIns="0" rtlCol="0" anchor="ctr">
            <a:spAutoFit/>
          </a:bodyPr>
          <a:lstStyle>
            <a:lvl1pPr algn="r">
              <a:defRPr sz="650">
                <a:solidFill>
                  <a:schemeClr val="tx1"/>
                </a:solidFill>
              </a:defRPr>
            </a:lvl1pPr>
          </a:lstStyle>
          <a:p>
            <a:r>
              <a:rPr lang="en-GB"/>
              <a:t>INSERT PRESENTATION TITLE HERE | INSERT NAME HERE</a:t>
            </a:r>
            <a:endParaRPr lang="en-CA"/>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a:p>
        </p:txBody>
      </p:sp>
    </p:spTree>
    <p:extLst>
      <p:ext uri="{BB962C8B-B14F-4D97-AF65-F5344CB8AC3E}">
        <p14:creationId xmlns:p14="http://schemas.microsoft.com/office/powerpoint/2010/main" val="1934746877"/>
      </p:ext>
    </p:extLst>
  </p:cSld>
  <p:clrMapOvr>
    <a:masterClrMapping/>
  </p:clrMapOvr>
  <p:transition>
    <p:fade/>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4"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a:p>
        </p:txBody>
      </p:sp>
      <p:sp>
        <p:nvSpPr>
          <p:cNvPr id="8" name="Text Placeholder 18"/>
          <p:cNvSpPr>
            <a:spLocks noGrp="1"/>
          </p:cNvSpPr>
          <p:nvPr>
            <p:ph idx="1"/>
          </p:nvPr>
        </p:nvSpPr>
        <p:spPr>
          <a:xfrm>
            <a:off x="469900" y="1665818"/>
            <a:ext cx="11252200" cy="463338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5"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GB"/>
              <a:t>INSERT PRESENTATION TITLE HERE | INSERT NAME HERE</a:t>
            </a:r>
            <a:endParaRPr lang="en-CA"/>
          </a:p>
        </p:txBody>
      </p:sp>
      <p:sp>
        <p:nvSpPr>
          <p:cNvPr id="6"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a:p>
        </p:txBody>
      </p:sp>
    </p:spTree>
    <p:extLst>
      <p:ext uri="{BB962C8B-B14F-4D97-AF65-F5344CB8AC3E}">
        <p14:creationId xmlns:p14="http://schemas.microsoft.com/office/powerpoint/2010/main" val="188675099"/>
      </p:ext>
    </p:extLst>
  </p:cSld>
  <p:clrMapOvr>
    <a:masterClrMapping/>
  </p:clrMapOvr>
  <p:transition>
    <p:fade/>
  </p:transition>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1. Strategy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3"/>
                          </a:solidFill>
                        </a:rPr>
                        <a:t>INTRODUCTION.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FIRST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endParaRPr lang="en-US" sz="1200" baseline="0">
                        <a:solidFill>
                          <a:schemeClr val="accent3"/>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3"/>
                          </a:solidFill>
                        </a:rPr>
                        <a:t>SECOND</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3"/>
                          </a:solidFill>
                        </a:rPr>
                        <a:t>THIRD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3"/>
                          </a:solidFill>
                        </a:rPr>
                        <a:t>FOURTH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3"/>
                          </a:solidFill>
                        </a:rPr>
                        <a:t>FIFTH TOPIC HERE. 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SIXTH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3"/>
                          </a:solidFill>
                        </a:rPr>
                        <a:t>SEVENTH</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D8E80946-97AB-4ADC-9413-E1F7A85E4F9D}"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20738278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2. Strategy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472C2CD-DA87-47AC-91DE-67DA2EF3EC4B}"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51240419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3. Strategy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49C7985A-F5A5-4A4C-B4B4-CEDD2875C76B}" type="datetime2">
              <a:rPr lang="en-GB" sz="800" smtClean="0"/>
              <a:t>Sunday, 17 July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79516804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4. Strategy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747170FE-A34E-4EC2-AE2D-3C5AF2CEA6CB}"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715141277"/>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5. Strategy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8F061D2-815F-47CA-B4B4-F5998EDDE25F}"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58203387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6. Strategy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3">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3"/>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C215B77-8854-4D41-9B94-B9B9B72D46C7}"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6660067"/>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7. Strategy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3">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3">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5FE81ECE-0EBD-4A69-98C7-869CD68DD715}" type="datetime2">
              <a:rPr lang="en-GB" sz="800" smtClean="0"/>
              <a:t>Sunday, 17 July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73856696"/>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8. Strategy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51750"/>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7596B40-F57C-455E-AB31-CC1BAE809D49}" type="datetime2">
              <a:rPr lang="en-GB" sz="800" smtClean="0"/>
              <a:t>Sunday, 17 July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42" name="Text Placeholder 5"/>
          <p:cNvSpPr>
            <a:spLocks noGrp="1"/>
          </p:cNvSpPr>
          <p:nvPr>
            <p:ph type="body" sz="quarter" idx="24" hasCustomPrompt="1"/>
          </p:nvPr>
        </p:nvSpPr>
        <p:spPr>
          <a:xfrm>
            <a:off x="1232815" y="3524598"/>
            <a:ext cx="1672617" cy="396240"/>
          </a:xfrm>
          <a:prstGeom prst="rect">
            <a:avLst/>
          </a:prstGeom>
          <a:solidFill>
            <a:schemeClr val="accent3">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43" name="Text Placeholder 5"/>
          <p:cNvSpPr>
            <a:spLocks noGrp="1"/>
          </p:cNvSpPr>
          <p:nvPr>
            <p:ph type="body" sz="quarter" idx="25" hasCustomPrompt="1"/>
          </p:nvPr>
        </p:nvSpPr>
        <p:spPr>
          <a:xfrm>
            <a:off x="3215559" y="3524598"/>
            <a:ext cx="1672617" cy="396240"/>
          </a:xfrm>
          <a:prstGeom prst="rect">
            <a:avLst/>
          </a:prstGeom>
          <a:solidFill>
            <a:schemeClr val="accent3">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44" name="Text Placeholder 5"/>
          <p:cNvSpPr>
            <a:spLocks noGrp="1"/>
          </p:cNvSpPr>
          <p:nvPr>
            <p:ph type="body" sz="quarter" idx="26" hasCustomPrompt="1"/>
          </p:nvPr>
        </p:nvSpPr>
        <p:spPr>
          <a:xfrm>
            <a:off x="5208012"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TIME</a:t>
            </a:r>
          </a:p>
        </p:txBody>
      </p:sp>
      <p:sp>
        <p:nvSpPr>
          <p:cNvPr id="45"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6"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394705758"/>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9. Strategy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626BF3B-C45F-4782-B971-72B8D1A613F8}"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569075421"/>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10. Strategy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6589AE9-31E2-4337-A2AA-020FB92B2705}"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0026341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1. Strategy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3DE3928-1813-4EDA-845C-C41787ED841D}"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6314867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13. Strategy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792C4136-4917-44B7-A18E-F89C6FACEC29}" type="datetime2">
              <a:rPr lang="en-GB" sz="800" smtClean="0"/>
              <a:t>Sunday, 17 July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878102645"/>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14. Strategy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22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6284CE76-E8DD-4B3B-BDF1-B06C7FF8A832}"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462164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15. Strategy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0AA71C97-1A27-44B4-8252-8E31D93B65A4}"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713636310"/>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16. Strategy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97833638-BCE4-4127-B201-1323323C8744}"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262649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17. Strategy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DCDD437F-7535-4951-8A4C-9A89DAF9E8F3}"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371476288"/>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18. Strategy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1E388688-EDA9-47AF-A09E-828D44747987}"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93772833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19. Strategy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64843659-7691-4D5A-B6EB-81648F1B5122}" type="datetime2">
              <a:rPr lang="en-GB" sz="800" smtClean="0"/>
              <a:t>Sunday, 17 July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397778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21. Strategy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55070304-17FD-42DE-ABE9-F2EF2C97FD0A}" type="datetime2">
              <a:rPr lang="en-GB" sz="800" smtClean="0"/>
              <a:t>Sunday, 17 July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885268321"/>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22. Strategy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7971"/>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BDEDCED-D3C6-41A7-B409-F0EA9F336D43}" type="datetime2">
              <a:rPr lang="en-GB" sz="800" smtClean="0"/>
              <a:t>Sunday, 17 July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541417"/>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23. Strategy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3">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3">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3">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3">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14E82D4-BB15-4EE0-93CA-E674A9DE2DD1}" type="datetime2">
              <a:rPr lang="en-GB" sz="800" smtClean="0"/>
              <a:t>Sunday, 17 July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73674391"/>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24. Strategy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3">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3">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3">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DF78C0D-BF7E-4BF7-AFDA-13BF6ABCDA9C}" type="datetime2">
              <a:rPr lang="en-GB" sz="800" smtClean="0"/>
              <a:t>Sunday, 17 July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33946532"/>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25. Strategy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248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4EAE096F-52C8-4982-B5C9-762E55E47D57}" type="datetime2">
              <a:rPr lang="en-GB" sz="800" smtClean="0"/>
              <a:t>Sunday, 17 July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92018617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26. Strategy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06040641"/>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27. Strategy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6453D410-C719-4394-A13A-787120427FD5}"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094028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7087D9-56E6-EB09-6020-C84007C6E88F}"/>
              </a:ext>
            </a:extLst>
          </p:cNvPr>
          <p:cNvGraphicFramePr>
            <a:graphicFrameLocks noChangeAspect="1"/>
          </p:cNvGraphicFramePr>
          <p:nvPr userDrawn="1">
            <p:custDataLst>
              <p:tags r:id="rId2"/>
            </p:custDataLst>
            <p:extLst>
              <p:ext uri="{D42A27DB-BD31-4B8C-83A1-F6EECF244321}">
                <p14:modId xmlns:p14="http://schemas.microsoft.com/office/powerpoint/2010/main" val="334041857"/>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9" name="think-cell Slide" r:id="rId4" imgW="7772400" imgH="10058400" progId="TCLayout.ActiveDocument.1">
                  <p:embed/>
                </p:oleObj>
              </mc:Choice>
              <mc:Fallback>
                <p:oleObj name="think-cell Slide" r:id="rId4" imgW="7772400" imgH="10058400" progId="TCLayout.ActiveDocument.1">
                  <p:embed/>
                  <p:pic>
                    <p:nvPicPr>
                      <p:cNvPr id="3" name="Object 2" hidden="1">
                        <a:extLst>
                          <a:ext uri="{FF2B5EF4-FFF2-40B4-BE49-F238E27FC236}">
                            <a16:creationId xmlns:a16="http://schemas.microsoft.com/office/drawing/2014/main" id="{3D7087D9-56E6-EB09-6020-C84007C6E88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473C6C63-9B43-9375-7102-473AA76A9861}"/>
              </a:ext>
            </a:extLst>
          </p:cNvPr>
          <p:cNvSpPr/>
          <p:nvPr userDrawn="1"/>
        </p:nvSpPr>
        <p:spPr>
          <a:xfrm>
            <a:off x="0" y="0"/>
            <a:ext cx="3822700" cy="6731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562758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28. Strategy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4BF47F41-2309-47E6-8B02-CC89538E000B}" type="datetime2">
              <a:rPr lang="en-GB" sz="800" smtClean="0"/>
              <a:t>Sunday, 17 July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22141858"/>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29. Strategy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101AEA95-E8B7-4EF1-B3AD-106D4FCBFE20}" type="datetime2">
              <a:rPr lang="en-GB" sz="800" smtClean="0"/>
              <a:t>Sunday, 17 July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56834888"/>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F354F8C-6F3C-4107-B50C-2E2480ED8416}"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75912022"/>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9953941"/>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2. LLA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178485325"/>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3. LLA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884519003"/>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740846559"/>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5. LLA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199871237"/>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0735520"/>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7. LLA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bg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3073875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8. LLA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6" name="Text Placeholder 5"/>
          <p:cNvSpPr>
            <a:spLocks noGrp="1"/>
          </p:cNvSpPr>
          <p:nvPr>
            <p:ph type="body" sz="quarter" idx="24" hasCustomPrompt="1"/>
          </p:nvPr>
        </p:nvSpPr>
        <p:spPr>
          <a:xfrm>
            <a:off x="1232815" y="3524598"/>
            <a:ext cx="1672617" cy="396240"/>
          </a:xfrm>
          <a:prstGeom prst="rect">
            <a:avLst/>
          </a:prstGeom>
          <a:solidFill>
            <a:schemeClr val="bg2"/>
          </a:solidFill>
        </p:spPr>
        <p:txBody>
          <a:bodyPr anchor="ctr"/>
          <a:lstStyle>
            <a:lvl1pPr marL="0" indent="0" algn="ctr">
              <a:buNone/>
              <a:defRPr sz="1400">
                <a:solidFill>
                  <a:schemeClr val="bg1"/>
                </a:solidFill>
              </a:defRPr>
            </a:lvl1pPr>
          </a:lstStyle>
          <a:p>
            <a:pPr lvl="0"/>
            <a:r>
              <a:rPr lang="en-US"/>
              <a:t>RIGHT PEOPLE</a:t>
            </a:r>
          </a:p>
        </p:txBody>
      </p:sp>
      <p:sp>
        <p:nvSpPr>
          <p:cNvPr id="39" name="Text Placeholder 5"/>
          <p:cNvSpPr>
            <a:spLocks noGrp="1"/>
          </p:cNvSpPr>
          <p:nvPr>
            <p:ph type="body" sz="quarter" idx="25" hasCustomPrompt="1"/>
          </p:nvPr>
        </p:nvSpPr>
        <p:spPr>
          <a:xfrm>
            <a:off x="3215559"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PLACE</a:t>
            </a:r>
          </a:p>
        </p:txBody>
      </p:sp>
      <p:sp>
        <p:nvSpPr>
          <p:cNvPr id="40"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1" name="Text Placeholder 5"/>
          <p:cNvSpPr>
            <a:spLocks noGrp="1"/>
          </p:cNvSpPr>
          <p:nvPr>
            <p:ph type="body" sz="quarter" idx="27" hasCustomPrompt="1"/>
          </p:nvPr>
        </p:nvSpPr>
        <p:spPr>
          <a:xfrm>
            <a:off x="7176317"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RESULTS</a:t>
            </a:r>
          </a:p>
        </p:txBody>
      </p:sp>
      <p:sp>
        <p:nvSpPr>
          <p:cNvPr id="42" name="Text Placeholder 5"/>
          <p:cNvSpPr>
            <a:spLocks noGrp="1"/>
          </p:cNvSpPr>
          <p:nvPr>
            <p:ph type="body" sz="quarter" idx="28" hasCustomPrompt="1"/>
          </p:nvPr>
        </p:nvSpPr>
        <p:spPr>
          <a:xfrm>
            <a:off x="914462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08204261"/>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9. LLA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993245384"/>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10. LLA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rgbClr val="FFC000"/>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rgbClr val="FFC000"/>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26143941"/>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11. LLA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43453041"/>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13. LLA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19688"/>
            <a:ext cx="9966660" cy="62318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6781865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14. LLA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287402733"/>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5. LLA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40797917"/>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90485862"/>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134613524"/>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18. LLA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87646635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19. LLA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032902855"/>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21. LLA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011164155"/>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22. LLA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068008022"/>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23. LLA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bg2"/>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FFC000"/>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69164118"/>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24. LLA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5825" y="1472868"/>
            <a:ext cx="1739900" cy="1189037"/>
          </a:xfrm>
          <a:prstGeom prst="ellipse">
            <a:avLst/>
          </a:prstGeom>
          <a:solidFill>
            <a:schemeClr val="bg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68563527"/>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25. LLA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5"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3359221"/>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26. LLA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5553411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title" preserve="1">
  <p:cSld name="27. LLA Slide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Tree>
    <p:extLst>
      <p:ext uri="{BB962C8B-B14F-4D97-AF65-F5344CB8AC3E}">
        <p14:creationId xmlns:p14="http://schemas.microsoft.com/office/powerpoint/2010/main" val="1898641420"/>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28. LLA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939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45428200"/>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29. LLA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8594843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1. Strategy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accent3"/>
                          </a:solidFill>
                        </a:rPr>
                        <a:t>INTRODUCTION.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FIRST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endParaRPr lang="en-US" sz="1200" baseline="0">
                        <a:solidFill>
                          <a:schemeClr val="accent3"/>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accent3"/>
                          </a:solidFill>
                        </a:rPr>
                        <a:t>SECOND</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accent3"/>
                          </a:solidFill>
                        </a:rPr>
                        <a:t>THIRD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accent3"/>
                          </a:solidFill>
                        </a:rPr>
                        <a:t>FOURTH TOPIC HERE. 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accent3"/>
                          </a:solidFill>
                        </a:rPr>
                        <a:t>FIFTH TOPIC HERE. UPPERCASE</a:t>
                      </a:r>
                      <a:r>
                        <a:rPr lang="en-US" sz="1200" baseline="0">
                          <a:solidFill>
                            <a:schemeClr val="accent3"/>
                          </a:solidFill>
                        </a:rPr>
                        <a:t> ONLY. DARK ORANGE. </a:t>
                      </a:r>
                      <a:r>
                        <a:rPr lang="en-US" sz="1200">
                          <a:solidFill>
                            <a:schemeClr val="accent3"/>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accent3"/>
                          </a:solidFill>
                        </a:rPr>
                        <a:t>SIXTH TOPIC HERE.</a:t>
                      </a:r>
                      <a:r>
                        <a:rPr lang="en-US" sz="1200" baseline="0">
                          <a:solidFill>
                            <a:schemeClr val="accent3"/>
                          </a:solidFill>
                        </a:rPr>
                        <a:t>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accent3"/>
                          </a:solidFill>
                        </a:rPr>
                        <a:t>SEVENTH</a:t>
                      </a:r>
                      <a:r>
                        <a:rPr lang="en-US" sz="1200" baseline="0">
                          <a:solidFill>
                            <a:schemeClr val="accent3"/>
                          </a:solidFill>
                        </a:rPr>
                        <a:t> TOPIC HERE. </a:t>
                      </a:r>
                      <a:r>
                        <a:rPr lang="en-US" sz="1200">
                          <a:solidFill>
                            <a:schemeClr val="accent3"/>
                          </a:solidFill>
                        </a:rPr>
                        <a:t>UPPERCASE</a:t>
                      </a:r>
                      <a:r>
                        <a:rPr lang="en-US" sz="1200" baseline="0">
                          <a:solidFill>
                            <a:schemeClr val="accent3"/>
                          </a:solidFill>
                        </a:rPr>
                        <a:t> ONLY. DARK ORANGE. </a:t>
                      </a:r>
                      <a:r>
                        <a:rPr lang="en-US" sz="1200">
                          <a:solidFill>
                            <a:schemeClr val="accent3"/>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accent3"/>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D8E80946-97AB-4ADC-9413-E1F7A85E4F9D}"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71577210"/>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2. Strategy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472C2CD-DA87-47AC-91DE-67DA2EF3EC4B}"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4232269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3. Strategy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49C7985A-F5A5-4A4C-B4B4-CEDD2875C76B}" type="datetime2">
              <a:rPr lang="en-GB" sz="800" smtClean="0"/>
              <a:t>Sunday, 17 July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94818755"/>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4. Strategy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747170FE-A34E-4EC2-AE2D-3C5AF2CEA6CB}"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27339332"/>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5. Strategy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8F061D2-815F-47CA-B4B4-F5998EDDE25F}"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774795833"/>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6. Strategy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accent3">
                    <a:lumMod val="75000"/>
                  </a:schemeClr>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accent3"/>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C215B77-8854-4D41-9B94-B9B9B72D46C7}"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96388906"/>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7. Strategy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accent3">
              <a:lumMod val="50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3">
              <a:lumMod val="75000"/>
            </a:schemeClr>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tx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tx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5FE81ECE-0EBD-4A69-98C7-869CD68DD715}" type="datetime2">
              <a:rPr lang="en-GB" sz="800" smtClean="0"/>
              <a:t>Sunday, 17 July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030787982"/>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8. Strategy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51750"/>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7596B40-F57C-455E-AB31-CC1BAE809D49}" type="datetime2">
              <a:rPr lang="en-GB" sz="800" smtClean="0"/>
              <a:t>Sunday, 17 July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42" name="Text Placeholder 5"/>
          <p:cNvSpPr>
            <a:spLocks noGrp="1"/>
          </p:cNvSpPr>
          <p:nvPr>
            <p:ph type="body" sz="quarter" idx="24" hasCustomPrompt="1"/>
          </p:nvPr>
        </p:nvSpPr>
        <p:spPr>
          <a:xfrm>
            <a:off x="1232815" y="3524598"/>
            <a:ext cx="1672617" cy="396240"/>
          </a:xfrm>
          <a:prstGeom prst="rect">
            <a:avLst/>
          </a:prstGeom>
          <a:solidFill>
            <a:schemeClr val="accent3">
              <a:lumMod val="50000"/>
            </a:schemeClr>
          </a:solidFill>
        </p:spPr>
        <p:txBody>
          <a:bodyPr anchor="ctr"/>
          <a:lstStyle>
            <a:lvl1pPr marL="0" indent="0" algn="ctr">
              <a:buNone/>
              <a:defRPr sz="1400">
                <a:solidFill>
                  <a:schemeClr val="bg1"/>
                </a:solidFill>
              </a:defRPr>
            </a:lvl1pPr>
          </a:lstStyle>
          <a:p>
            <a:pPr lvl="0"/>
            <a:r>
              <a:rPr lang="en-US"/>
              <a:t>RIGHT PEOPLE</a:t>
            </a:r>
          </a:p>
        </p:txBody>
      </p:sp>
      <p:sp>
        <p:nvSpPr>
          <p:cNvPr id="43" name="Text Placeholder 5"/>
          <p:cNvSpPr>
            <a:spLocks noGrp="1"/>
          </p:cNvSpPr>
          <p:nvPr>
            <p:ph type="body" sz="quarter" idx="25" hasCustomPrompt="1"/>
          </p:nvPr>
        </p:nvSpPr>
        <p:spPr>
          <a:xfrm>
            <a:off x="3215559" y="3524598"/>
            <a:ext cx="1672617" cy="396240"/>
          </a:xfrm>
          <a:prstGeom prst="rect">
            <a:avLst/>
          </a:prstGeom>
          <a:solidFill>
            <a:schemeClr val="accent3">
              <a:lumMod val="75000"/>
            </a:schemeClr>
          </a:solidFill>
        </p:spPr>
        <p:txBody>
          <a:bodyPr anchor="ctr"/>
          <a:lstStyle>
            <a:lvl1pPr marL="0" indent="0" algn="ctr">
              <a:buNone/>
              <a:defRPr sz="1400">
                <a:solidFill>
                  <a:schemeClr val="bg1"/>
                </a:solidFill>
              </a:defRPr>
            </a:lvl1pPr>
          </a:lstStyle>
          <a:p>
            <a:pPr lvl="0"/>
            <a:r>
              <a:rPr lang="en-US"/>
              <a:t>RIGHT PLACE</a:t>
            </a:r>
          </a:p>
        </p:txBody>
      </p:sp>
      <p:sp>
        <p:nvSpPr>
          <p:cNvPr id="44" name="Text Placeholder 5"/>
          <p:cNvSpPr>
            <a:spLocks noGrp="1"/>
          </p:cNvSpPr>
          <p:nvPr>
            <p:ph type="body" sz="quarter" idx="26" hasCustomPrompt="1"/>
          </p:nvPr>
        </p:nvSpPr>
        <p:spPr>
          <a:xfrm>
            <a:off x="5208012"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TIME</a:t>
            </a:r>
          </a:p>
        </p:txBody>
      </p:sp>
      <p:sp>
        <p:nvSpPr>
          <p:cNvPr id="45" name="Text Placeholder 5"/>
          <p:cNvSpPr>
            <a:spLocks noGrp="1"/>
          </p:cNvSpPr>
          <p:nvPr>
            <p:ph type="body" sz="quarter" idx="27" hasCustomPrompt="1"/>
          </p:nvPr>
        </p:nvSpPr>
        <p:spPr>
          <a:xfrm>
            <a:off x="7176317" y="3524598"/>
            <a:ext cx="1672617" cy="396240"/>
          </a:xfrm>
          <a:prstGeom prst="rect">
            <a:avLst/>
          </a:prstGeom>
          <a:solidFill>
            <a:schemeClr val="tx1"/>
          </a:solidFill>
        </p:spPr>
        <p:txBody>
          <a:bodyPr anchor="ctr"/>
          <a:lstStyle>
            <a:lvl1pPr marL="0" indent="0" algn="ctr">
              <a:buNone/>
              <a:defRPr sz="1400">
                <a:solidFill>
                  <a:schemeClr val="bg1"/>
                </a:solidFill>
              </a:defRPr>
            </a:lvl1pPr>
          </a:lstStyle>
          <a:p>
            <a:pPr lvl="0"/>
            <a:r>
              <a:rPr lang="en-US"/>
              <a:t>RIGHT RESULTS</a:t>
            </a:r>
          </a:p>
        </p:txBody>
      </p:sp>
      <p:sp>
        <p:nvSpPr>
          <p:cNvPr id="46" name="Text Placeholder 5"/>
          <p:cNvSpPr>
            <a:spLocks noGrp="1"/>
          </p:cNvSpPr>
          <p:nvPr>
            <p:ph type="body" sz="quarter" idx="28" hasCustomPrompt="1"/>
          </p:nvPr>
        </p:nvSpPr>
        <p:spPr>
          <a:xfrm>
            <a:off x="9144622" y="3524598"/>
            <a:ext cx="1672617" cy="396240"/>
          </a:xfrm>
          <a:prstGeom prst="rect">
            <a:avLst/>
          </a:prstGeom>
          <a:solidFill>
            <a:schemeClr val="tx2"/>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60128084"/>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9. Strategy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626BF3B-C45F-4782-B971-72B8D1A613F8}"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52131312"/>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0. Strategy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6589AE9-31E2-4337-A2AA-020FB92B2705}"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3">
              <a:lumMod val="75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3">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chemeClr val="accent3">
              <a:lumMod val="50000"/>
            </a:schemeClr>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chemeClr val="accent3">
              <a:lumMod val="5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39317959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11. Strategy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3DE3928-1813-4EDA-845C-C41787ED841D}"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734853255"/>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13. Strategy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792C4136-4917-44B7-A18E-F89C6FACEC29}" type="datetime2">
              <a:rPr lang="en-GB" sz="800" smtClean="0"/>
              <a:t>Sunday, 17 July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74554644"/>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14. Strategy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225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6284CE76-E8DD-4B3B-BDF1-B06C7FF8A832}"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069089557"/>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15. Strategy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362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0AA71C97-1A27-44B4-8252-8E31D93B65A4}"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226703485"/>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16. Strategy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3"/>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97833638-BCE4-4127-B201-1323323C8744}"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814720727"/>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7. Strategy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2"/>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DCDD437F-7535-4951-8A4C-9A89DAF9E8F3}"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770141398"/>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18. Strategy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1E388688-EDA9-47AF-A09E-828D44747987}"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11391310"/>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19. Strategy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64843659-7691-4D5A-B6EB-81648F1B5122}" type="datetime2">
              <a:rPr lang="en-GB" sz="800" smtClean="0"/>
              <a:t>Sunday, 17 July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38369464"/>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21. Strategy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55070304-17FD-42DE-ABE9-F2EF2C97FD0A}" type="datetime2">
              <a:rPr lang="en-GB" sz="800" smtClean="0"/>
              <a:t>Sunday, 17 July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781685440"/>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22. Strategy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7971"/>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BDEDCED-D3C6-41A7-B409-F0EA9F336D43}" type="datetime2">
              <a:rPr lang="en-GB" sz="800" smtClean="0"/>
              <a:t>Sunday, 17 July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855758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23. Strategy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3">
                <a:lumMod val="75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accent3">
                <a:lumMod val="50000"/>
              </a:schemeClr>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lumMod val="60000"/>
                <a:lumOff val="4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3">
                <a:lumMod val="40000"/>
                <a:lumOff val="6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chemeClr val="accent3">
                <a:lumMod val="20000"/>
                <a:lumOff val="80000"/>
              </a:schemeClr>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14E82D4-BB15-4EE0-93CA-E674A9DE2DD1}" type="datetime2">
              <a:rPr lang="en-GB" sz="800" smtClean="0"/>
              <a:t>Sunday, 17 July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41690168"/>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24. Strategy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3">
              <a:lumMod val="40000"/>
              <a:lumOff val="6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lumMod val="60000"/>
              <a:lumOff val="4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3">
              <a:lumMod val="75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4237" y="1438737"/>
            <a:ext cx="1739900" cy="1189037"/>
          </a:xfrm>
          <a:prstGeom prst="ellipse">
            <a:avLst/>
          </a:prstGeom>
          <a:solidFill>
            <a:schemeClr val="accent3">
              <a:lumMod val="50000"/>
            </a:schemeClr>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DF78C0D-BF7E-4BF7-AFDA-13BF6ABCDA9C}" type="datetime2">
              <a:rPr lang="en-GB" sz="800" smtClean="0"/>
              <a:t>Sunday, 17 July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900212993"/>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25. Strategy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0248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4EAE096F-52C8-4982-B5C9-762E55E47D57}" type="datetime2">
              <a:rPr lang="en-GB" sz="800" smtClean="0"/>
              <a:t>Sunday, 17 July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391631976"/>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26. Strategy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220379075"/>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27. Strategy Slide Blank">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6453D410-C719-4394-A13A-787120427FD5}"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51379817"/>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28. Strategy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885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4BF47F41-2309-47E6-8B02-CC89538E000B}" type="datetime2">
              <a:rPr lang="en-GB" sz="800" smtClean="0"/>
              <a:t>Sunday, 17 July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77568705"/>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29. Strategy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04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101AEA95-E8B7-4EF1-B3AD-106D4FCBFE20}" type="datetime2">
              <a:rPr lang="en-GB" sz="800" smtClean="0"/>
              <a:t>Sunday, 17 July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accent3"/>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1875171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559861075"/>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1518E9B9-BE48-4B64-97C3-57CE49D8D99F}" type="datetime2">
              <a:rPr lang="en-US" sz="800" smtClean="0"/>
              <a:t>Sunday, July 17,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90096368"/>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2. LLA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FC8AB015-3B7D-497B-A66F-BA1D83CAF055}" type="datetime2">
              <a:rPr lang="en-US" sz="800" smtClean="0"/>
              <a:t>Sunday, July 17,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773145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3. LLA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C672E7E9-94B6-437B-8885-55A0AA4C7CCE}" type="datetime2">
              <a:rPr lang="en-US" sz="800" smtClean="0"/>
              <a:t>Sunday, July 17,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33097620"/>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5675AE92-ECE8-4AD0-9C67-E183A7583D6D}" type="datetime2">
              <a:rPr lang="en-US" sz="800" smtClean="0"/>
              <a:t>Sunday, July 17,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643996903"/>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5. LLA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523A979-AFF2-49F9-A627-E09150D0A742}" type="datetime2">
              <a:rPr lang="en-US" sz="800" smtClean="0"/>
              <a:t>Sunday, July 17,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029245891"/>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5167F1B-5171-4F7B-9018-79E2EDA67D39}" type="datetime2">
              <a:rPr lang="en-US" sz="800" smtClean="0"/>
              <a:t>Sunday, July 17,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431436676"/>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7. LLA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bg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A7B1EF7E-F125-4D87-B55F-9B755662B448}" type="datetime2">
              <a:rPr lang="en-US" sz="800" smtClean="0"/>
              <a:t>Sunday, July 17,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81335173"/>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8. LLA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1E17AEFA-1B75-41D0-BCD4-72185AADA171}" type="datetime2">
              <a:rPr lang="en-US" sz="800" smtClean="0"/>
              <a:t>Sunday, July 17,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6" name="Text Placeholder 5"/>
          <p:cNvSpPr>
            <a:spLocks noGrp="1"/>
          </p:cNvSpPr>
          <p:nvPr>
            <p:ph type="body" sz="quarter" idx="24" hasCustomPrompt="1"/>
          </p:nvPr>
        </p:nvSpPr>
        <p:spPr>
          <a:xfrm>
            <a:off x="1232815" y="3524598"/>
            <a:ext cx="1672617" cy="396240"/>
          </a:xfrm>
          <a:prstGeom prst="rect">
            <a:avLst/>
          </a:prstGeom>
          <a:solidFill>
            <a:schemeClr val="bg2"/>
          </a:solidFill>
        </p:spPr>
        <p:txBody>
          <a:bodyPr anchor="ctr"/>
          <a:lstStyle>
            <a:lvl1pPr marL="0" indent="0" algn="ctr">
              <a:buNone/>
              <a:defRPr sz="1400">
                <a:solidFill>
                  <a:schemeClr val="bg1"/>
                </a:solidFill>
              </a:defRPr>
            </a:lvl1pPr>
          </a:lstStyle>
          <a:p>
            <a:pPr lvl="0"/>
            <a:r>
              <a:rPr lang="en-US"/>
              <a:t>RIGHT PEOPLE</a:t>
            </a:r>
          </a:p>
        </p:txBody>
      </p:sp>
      <p:sp>
        <p:nvSpPr>
          <p:cNvPr id="39" name="Text Placeholder 5"/>
          <p:cNvSpPr>
            <a:spLocks noGrp="1"/>
          </p:cNvSpPr>
          <p:nvPr>
            <p:ph type="body" sz="quarter" idx="25" hasCustomPrompt="1"/>
          </p:nvPr>
        </p:nvSpPr>
        <p:spPr>
          <a:xfrm>
            <a:off x="3215559"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PLACE</a:t>
            </a:r>
          </a:p>
        </p:txBody>
      </p:sp>
      <p:sp>
        <p:nvSpPr>
          <p:cNvPr id="40"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1" name="Text Placeholder 5"/>
          <p:cNvSpPr>
            <a:spLocks noGrp="1"/>
          </p:cNvSpPr>
          <p:nvPr>
            <p:ph type="body" sz="quarter" idx="27" hasCustomPrompt="1"/>
          </p:nvPr>
        </p:nvSpPr>
        <p:spPr>
          <a:xfrm>
            <a:off x="7176317"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RESULTS</a:t>
            </a:r>
          </a:p>
        </p:txBody>
      </p:sp>
      <p:sp>
        <p:nvSpPr>
          <p:cNvPr id="42" name="Text Placeholder 5"/>
          <p:cNvSpPr>
            <a:spLocks noGrp="1"/>
          </p:cNvSpPr>
          <p:nvPr>
            <p:ph type="body" sz="quarter" idx="28" hasCustomPrompt="1"/>
          </p:nvPr>
        </p:nvSpPr>
        <p:spPr>
          <a:xfrm>
            <a:off x="914462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97051951"/>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9. LLA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D69F4DFC-5447-42A0-BA83-34E28AC8DD31}" type="datetime2">
              <a:rPr lang="en-US" sz="800" smtClean="0"/>
              <a:t>Sunday, July 17,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32982990"/>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10. LLA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FC2A63B8-38D0-43CE-940C-551DBFA0DC4B}" type="datetime2">
              <a:rPr lang="en-US" sz="800" smtClean="0"/>
              <a:t>Sunday, July 17,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rgbClr val="FFC000"/>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rgbClr val="FFC000"/>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76481065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11. LLA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9A2BC27-804B-411C-B6A0-3F4CB61845E6}" type="datetime2">
              <a:rPr lang="en-US" sz="800" smtClean="0"/>
              <a:t>Sunday, July 17,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517365214"/>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13. LLA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19688"/>
            <a:ext cx="9966660" cy="62318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C2A609BB-936B-4371-868F-2DB9CA6E336F}" type="datetime2">
              <a:rPr lang="en-US" sz="800" smtClean="0"/>
              <a:t>Sunday, July 17,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6407277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14. LLA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81AC5420-8622-4EFD-B436-A50B6EB2CE92}" type="datetime2">
              <a:rPr lang="en-US" sz="800" smtClean="0"/>
              <a:t>Sunday, July 17,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117835837"/>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15. LLA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CA86344F-30A6-4B13-8F9B-A19608D37EA9}" type="datetime2">
              <a:rPr lang="en-US" sz="800" smtClean="0"/>
              <a:t>Sunday, July 17,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237503191"/>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627EED90-EC06-43A3-A72A-EBF2C134C32B}" type="datetime2">
              <a:rPr lang="en-US" sz="800" smtClean="0"/>
              <a:t>Sunday, July 17,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891772686"/>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814ACB31-4D22-4083-B053-B5C9C6EBCFD5}" type="datetime2">
              <a:rPr lang="en-US" sz="800" smtClean="0"/>
              <a:t>Sunday, July 17,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68695660"/>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8. LLA Slide - 1 Table and Text">
    <p:spTree>
      <p:nvGrpSpPr>
        <p:cNvPr id="1" name=""/>
        <p:cNvGrpSpPr/>
        <p:nvPr/>
      </p:nvGrpSpPr>
      <p:grpSpPr>
        <a:xfrm>
          <a:off x="0" y="0"/>
          <a:ext cx="0" cy="0"/>
          <a:chOff x="0" y="0"/>
          <a:chExt cx="0" cy="0"/>
        </a:xfrm>
      </p:grpSpPr>
      <p:sp>
        <p:nvSpPr>
          <p:cNvPr id="6" name="Table Placeholder 5"/>
          <p:cNvSpPr>
            <a:spLocks noGrp="1"/>
          </p:cNvSpPr>
          <p:nvPr>
            <p:ph type="tbl" sz="quarter" idx="14" hasCustomPrompt="1"/>
          </p:nvPr>
        </p:nvSpPr>
        <p:spPr>
          <a:xfrm>
            <a:off x="7547605" y="1568107"/>
            <a:ext cx="4325307" cy="4411663"/>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TABLE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83E57D60-C6DD-4825-A85D-5DDFC79EA54E}" type="datetime2">
              <a:rPr lang="en-US" sz="800" smtClean="0"/>
              <a:t>Sunday, July 17,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56427915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19. LLA Slide - 2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TABLE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E2641226-C1D2-4C0D-A38E-3FDFCA33E5FA}" type="datetime2">
              <a:rPr lang="en-US" sz="800" smtClean="0"/>
              <a:t>Sunday, July 17, 2022</a:t>
            </a:fld>
            <a:r>
              <a:rPr lang="en-GB" sz="800"/>
              <a:t>  |</a:t>
            </a:r>
            <a:endParaRPr lang="en-US"/>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5" name="Table Placeholder 5"/>
          <p:cNvSpPr>
            <a:spLocks noGrp="1"/>
          </p:cNvSpPr>
          <p:nvPr>
            <p:ph type="tbl" sz="quarter" idx="21" hasCustomPrompt="1"/>
          </p:nvPr>
        </p:nvSpPr>
        <p:spPr>
          <a:xfrm>
            <a:off x="725213"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Table Placeholder 5"/>
          <p:cNvSpPr>
            <a:spLocks noGrp="1"/>
          </p:cNvSpPr>
          <p:nvPr>
            <p:ph type="tbl" sz="quarter" idx="22" hasCustomPrompt="1"/>
          </p:nvPr>
        </p:nvSpPr>
        <p:spPr>
          <a:xfrm>
            <a:off x="6198548" y="1876657"/>
            <a:ext cx="5116787"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17956395"/>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21. LLA Slide - 3 Tables an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TABLE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8DB8D49A-1C8C-4D6D-8406-81BBC1994CDB}" type="datetime2">
              <a:rPr lang="en-US" sz="800" smtClean="0"/>
              <a:t>Sunday, July 17, 2022</a:t>
            </a:fld>
            <a:r>
              <a:rPr lang="en-GB" sz="800"/>
              <a:t>  |</a:t>
            </a:r>
            <a:endParaRPr lang="en-US"/>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Table Placeholder 5"/>
          <p:cNvSpPr>
            <a:spLocks noGrp="1"/>
          </p:cNvSpPr>
          <p:nvPr>
            <p:ph type="tbl" sz="quarter" idx="21" hasCustomPrompt="1"/>
          </p:nvPr>
        </p:nvSpPr>
        <p:spPr>
          <a:xfrm>
            <a:off x="725213"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9" name="Table Placeholder 5"/>
          <p:cNvSpPr>
            <a:spLocks noGrp="1"/>
          </p:cNvSpPr>
          <p:nvPr>
            <p:ph type="tbl" sz="quarter" idx="22" hasCustomPrompt="1"/>
          </p:nvPr>
        </p:nvSpPr>
        <p:spPr>
          <a:xfrm>
            <a:off x="437923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Table Placeholder 5"/>
          <p:cNvSpPr>
            <a:spLocks noGrp="1"/>
          </p:cNvSpPr>
          <p:nvPr>
            <p:ph type="tbl" sz="quarter" idx="23" hasCustomPrompt="1"/>
          </p:nvPr>
        </p:nvSpPr>
        <p:spPr>
          <a:xfrm>
            <a:off x="8033882" y="1876657"/>
            <a:ext cx="3167519" cy="254843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159776041"/>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22. LLA Slide - 6 Table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TABLES</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45D005E3-CFEA-4FED-92F5-0DCA676076BF}" type="datetime2">
              <a:rPr lang="en-US" sz="800" smtClean="0"/>
              <a:t>Sunday, July 17, 2022</a:t>
            </a:fld>
            <a:r>
              <a:rPr lang="en-GB" sz="800"/>
              <a:t>  |</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Table Placeholder 5"/>
          <p:cNvSpPr>
            <a:spLocks noGrp="1"/>
          </p:cNvSpPr>
          <p:nvPr>
            <p:ph type="tbl" sz="quarter" idx="27" hasCustomPrompt="1"/>
          </p:nvPr>
        </p:nvSpPr>
        <p:spPr>
          <a:xfrm>
            <a:off x="72521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5" name="Table Placeholder 5"/>
          <p:cNvSpPr>
            <a:spLocks noGrp="1"/>
          </p:cNvSpPr>
          <p:nvPr>
            <p:ph type="tbl" sz="quarter" idx="28" hasCustomPrompt="1"/>
          </p:nvPr>
        </p:nvSpPr>
        <p:spPr>
          <a:xfrm>
            <a:off x="4379233"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6" name="Table Placeholder 5"/>
          <p:cNvSpPr>
            <a:spLocks noGrp="1"/>
          </p:cNvSpPr>
          <p:nvPr>
            <p:ph type="tbl" sz="quarter" idx="29" hasCustomPrompt="1"/>
          </p:nvPr>
        </p:nvSpPr>
        <p:spPr>
          <a:xfrm>
            <a:off x="8046320" y="1876657"/>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7" name="Table Placeholder 5"/>
          <p:cNvSpPr>
            <a:spLocks noGrp="1"/>
          </p:cNvSpPr>
          <p:nvPr>
            <p:ph type="tbl" sz="quarter" idx="30" hasCustomPrompt="1"/>
          </p:nvPr>
        </p:nvSpPr>
        <p:spPr>
          <a:xfrm>
            <a:off x="72521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8" name="Table Placeholder 5"/>
          <p:cNvSpPr>
            <a:spLocks noGrp="1"/>
          </p:cNvSpPr>
          <p:nvPr>
            <p:ph type="tbl" sz="quarter" idx="31" hasCustomPrompt="1"/>
          </p:nvPr>
        </p:nvSpPr>
        <p:spPr>
          <a:xfrm>
            <a:off x="4379233"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9" name="Table Placeholder 5"/>
          <p:cNvSpPr>
            <a:spLocks noGrp="1"/>
          </p:cNvSpPr>
          <p:nvPr>
            <p:ph type="tbl" sz="quarter" idx="32" hasCustomPrompt="1"/>
          </p:nvPr>
        </p:nvSpPr>
        <p:spPr>
          <a:xfrm>
            <a:off x="8046320" y="4301805"/>
            <a:ext cx="3167517" cy="1641785"/>
          </a:xfrm>
          <a:prstGeom prst="rect">
            <a:avLst/>
          </a:prstGeom>
        </p:spPr>
        <p:txBody>
          <a:bodyPr anchor="ctr"/>
          <a:lstStyle>
            <a:lvl1pPr marL="0" indent="0" algn="ctr">
              <a:buNone/>
              <a:defRPr sz="2000">
                <a:solidFill>
                  <a:schemeClr val="accent6"/>
                </a:solidFill>
              </a:defRPr>
            </a:lvl1pPr>
          </a:lstStyle>
          <a:p>
            <a:r>
              <a:rPr lang="en-US"/>
              <a:t>TABLE</a:t>
            </a:r>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4174890794"/>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23. LLA Slide - Process Closed Loop">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472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INTRO TEXT AND BULLETS</a:t>
            </a:r>
          </a:p>
        </p:txBody>
      </p:sp>
      <p:grpSp>
        <p:nvGrpSpPr>
          <p:cNvPr id="33" name="Group 32"/>
          <p:cNvGrpSpPr/>
          <p:nvPr userDrawn="1"/>
        </p:nvGrpSpPr>
        <p:grpSpPr>
          <a:xfrm>
            <a:off x="6152742" y="1530826"/>
            <a:ext cx="5205413" cy="4535487"/>
            <a:chOff x="1905000" y="1773238"/>
            <a:chExt cx="5205413" cy="4535487"/>
          </a:xfrm>
          <a:effectLst>
            <a:outerShdw blurRad="50800" dist="76200" dir="5400000" algn="t" rotWithShape="0">
              <a:prstClr val="black">
                <a:alpha val="40000"/>
              </a:prstClr>
            </a:outerShdw>
          </a:effectLst>
        </p:grpSpPr>
        <p:sp>
          <p:nvSpPr>
            <p:cNvPr id="34" name="Freeform 33"/>
            <p:cNvSpPr>
              <a:spLocks/>
            </p:cNvSpPr>
            <p:nvPr/>
          </p:nvSpPr>
          <p:spPr bwMode="blackWhite">
            <a:xfrm>
              <a:off x="5729288" y="3216275"/>
              <a:ext cx="1381125" cy="1874838"/>
            </a:xfrm>
            <a:custGeom>
              <a:avLst/>
              <a:gdLst>
                <a:gd name="T0" fmla="*/ 461616 w 852"/>
                <a:gd name="T1" fmla="*/ 1873218 h 1157"/>
                <a:gd name="T2" fmla="*/ 1493670 w 852"/>
                <a:gd name="T3" fmla="*/ 1852152 h 1157"/>
                <a:gd name="T4" fmla="*/ 1172469 w 852"/>
                <a:gd name="T5" fmla="*/ 1672284 h 1157"/>
                <a:gd name="T6" fmla="*/ 1233901 w 852"/>
                <a:gd name="T7" fmla="*/ 1552372 h 1157"/>
                <a:gd name="T8" fmla="*/ 1286557 w 852"/>
                <a:gd name="T9" fmla="*/ 1429219 h 1157"/>
                <a:gd name="T10" fmla="*/ 1330437 w 852"/>
                <a:gd name="T11" fmla="*/ 1302826 h 1157"/>
                <a:gd name="T12" fmla="*/ 1360275 w 852"/>
                <a:gd name="T13" fmla="*/ 1171571 h 1157"/>
                <a:gd name="T14" fmla="*/ 1386603 w 852"/>
                <a:gd name="T15" fmla="*/ 1040316 h 1157"/>
                <a:gd name="T16" fmla="*/ 1400645 w 852"/>
                <a:gd name="T17" fmla="*/ 909061 h 1157"/>
                <a:gd name="T18" fmla="*/ 1405910 w 852"/>
                <a:gd name="T19" fmla="*/ 774566 h 1157"/>
                <a:gd name="T20" fmla="*/ 1400645 w 852"/>
                <a:gd name="T21" fmla="*/ 640070 h 1157"/>
                <a:gd name="T22" fmla="*/ 1384848 w 852"/>
                <a:gd name="T23" fmla="*/ 508815 h 1157"/>
                <a:gd name="T24" fmla="*/ 1360275 w 852"/>
                <a:gd name="T25" fmla="*/ 377560 h 1157"/>
                <a:gd name="T26" fmla="*/ 1326926 w 852"/>
                <a:gd name="T27" fmla="*/ 247926 h 1157"/>
                <a:gd name="T28" fmla="*/ 1281291 w 852"/>
                <a:gd name="T29" fmla="*/ 121532 h 1157"/>
                <a:gd name="T30" fmla="*/ 1230391 w 852"/>
                <a:gd name="T31" fmla="*/ 0 h 1157"/>
                <a:gd name="T32" fmla="*/ 956581 w 852"/>
                <a:gd name="T33" fmla="*/ 479647 h 1157"/>
                <a:gd name="T34" fmla="*/ 365080 w 852"/>
                <a:gd name="T35" fmla="*/ 471545 h 1157"/>
                <a:gd name="T36" fmla="*/ 389653 w 852"/>
                <a:gd name="T37" fmla="*/ 559048 h 1157"/>
                <a:gd name="T38" fmla="*/ 405450 w 852"/>
                <a:gd name="T39" fmla="*/ 651413 h 1157"/>
                <a:gd name="T40" fmla="*/ 412470 w 852"/>
                <a:gd name="T41" fmla="*/ 743777 h 1157"/>
                <a:gd name="T42" fmla="*/ 410715 w 852"/>
                <a:gd name="T43" fmla="*/ 832901 h 1157"/>
                <a:gd name="T44" fmla="*/ 401939 w 852"/>
                <a:gd name="T45" fmla="*/ 925266 h 1157"/>
                <a:gd name="T46" fmla="*/ 380877 w 852"/>
                <a:gd name="T47" fmla="*/ 1016010 h 1157"/>
                <a:gd name="T48" fmla="*/ 356304 w 852"/>
                <a:gd name="T49" fmla="*/ 1106754 h 1157"/>
                <a:gd name="T50" fmla="*/ 317690 w 852"/>
                <a:gd name="T51" fmla="*/ 1189396 h 1157"/>
                <a:gd name="T52" fmla="*/ 0 w 852"/>
                <a:gd name="T53" fmla="*/ 1017630 h 1157"/>
                <a:gd name="T54" fmla="*/ 461616 w 852"/>
                <a:gd name="T55" fmla="*/ 1873218 h 115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852"/>
                <a:gd name="T85" fmla="*/ 0 h 1157"/>
                <a:gd name="T86" fmla="*/ 852 w 852"/>
                <a:gd name="T87" fmla="*/ 1157 h 115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852" h="1157">
                  <a:moveTo>
                    <a:pt x="263" y="1156"/>
                  </a:moveTo>
                  <a:lnTo>
                    <a:pt x="851" y="1143"/>
                  </a:lnTo>
                  <a:lnTo>
                    <a:pt x="668" y="1032"/>
                  </a:lnTo>
                  <a:lnTo>
                    <a:pt x="703" y="958"/>
                  </a:lnTo>
                  <a:lnTo>
                    <a:pt x="733" y="882"/>
                  </a:lnTo>
                  <a:lnTo>
                    <a:pt x="758" y="804"/>
                  </a:lnTo>
                  <a:lnTo>
                    <a:pt x="775" y="723"/>
                  </a:lnTo>
                  <a:lnTo>
                    <a:pt x="790" y="642"/>
                  </a:lnTo>
                  <a:lnTo>
                    <a:pt x="798" y="561"/>
                  </a:lnTo>
                  <a:lnTo>
                    <a:pt x="801" y="478"/>
                  </a:lnTo>
                  <a:lnTo>
                    <a:pt x="798" y="395"/>
                  </a:lnTo>
                  <a:lnTo>
                    <a:pt x="789" y="314"/>
                  </a:lnTo>
                  <a:lnTo>
                    <a:pt x="775" y="233"/>
                  </a:lnTo>
                  <a:lnTo>
                    <a:pt x="756" y="153"/>
                  </a:lnTo>
                  <a:lnTo>
                    <a:pt x="730" y="75"/>
                  </a:lnTo>
                  <a:lnTo>
                    <a:pt x="701" y="0"/>
                  </a:lnTo>
                  <a:lnTo>
                    <a:pt x="545" y="296"/>
                  </a:lnTo>
                  <a:lnTo>
                    <a:pt x="208" y="291"/>
                  </a:lnTo>
                  <a:lnTo>
                    <a:pt x="222" y="345"/>
                  </a:lnTo>
                  <a:lnTo>
                    <a:pt x="231" y="402"/>
                  </a:lnTo>
                  <a:lnTo>
                    <a:pt x="235" y="459"/>
                  </a:lnTo>
                  <a:lnTo>
                    <a:pt x="234" y="514"/>
                  </a:lnTo>
                  <a:lnTo>
                    <a:pt x="229" y="571"/>
                  </a:lnTo>
                  <a:lnTo>
                    <a:pt x="217" y="627"/>
                  </a:lnTo>
                  <a:lnTo>
                    <a:pt x="203" y="683"/>
                  </a:lnTo>
                  <a:lnTo>
                    <a:pt x="181" y="734"/>
                  </a:lnTo>
                  <a:lnTo>
                    <a:pt x="0" y="628"/>
                  </a:lnTo>
                  <a:lnTo>
                    <a:pt x="263" y="1156"/>
                  </a:lnTo>
                </a:path>
              </a:pathLst>
            </a:custGeom>
            <a:solidFill>
              <a:schemeClr val="accent2"/>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5" name="Freeform 34"/>
            <p:cNvSpPr>
              <a:spLocks/>
            </p:cNvSpPr>
            <p:nvPr/>
          </p:nvSpPr>
          <p:spPr bwMode="blackWhite">
            <a:xfrm>
              <a:off x="5221288" y="2070100"/>
              <a:ext cx="1797050" cy="1557338"/>
            </a:xfrm>
            <a:custGeom>
              <a:avLst/>
              <a:gdLst>
                <a:gd name="T0" fmla="*/ 2147483647 w 1109"/>
                <a:gd name="T1" fmla="*/ 2147483647 h 962"/>
                <a:gd name="T2" fmla="*/ 2147483647 w 1109"/>
                <a:gd name="T3" fmla="*/ 2147483647 h 962"/>
                <a:gd name="T4" fmla="*/ 2147483647 w 1109"/>
                <a:gd name="T5" fmla="*/ 2147483647 h 962"/>
                <a:gd name="T6" fmla="*/ 2147483647 w 1109"/>
                <a:gd name="T7" fmla="*/ 2147483647 h 962"/>
                <a:gd name="T8" fmla="*/ 2147483647 w 1109"/>
                <a:gd name="T9" fmla="*/ 2147483647 h 962"/>
                <a:gd name="T10" fmla="*/ 2147483647 w 1109"/>
                <a:gd name="T11" fmla="*/ 2147483647 h 962"/>
                <a:gd name="T12" fmla="*/ 2147483647 w 1109"/>
                <a:gd name="T13" fmla="*/ 2147483647 h 962"/>
                <a:gd name="T14" fmla="*/ 2147483647 w 1109"/>
                <a:gd name="T15" fmla="*/ 2147483647 h 962"/>
                <a:gd name="T16" fmla="*/ 2147483647 w 1109"/>
                <a:gd name="T17" fmla="*/ 2147483647 h 962"/>
                <a:gd name="T18" fmla="*/ 2147483647 w 1109"/>
                <a:gd name="T19" fmla="*/ 2147483647 h 962"/>
                <a:gd name="T20" fmla="*/ 2147483647 w 1109"/>
                <a:gd name="T21" fmla="*/ 2147483647 h 962"/>
                <a:gd name="T22" fmla="*/ 2147483647 w 1109"/>
                <a:gd name="T23" fmla="*/ 2147483647 h 962"/>
                <a:gd name="T24" fmla="*/ 2147483647 w 1109"/>
                <a:gd name="T25" fmla="*/ 2147483647 h 962"/>
                <a:gd name="T26" fmla="*/ 2147483647 w 1109"/>
                <a:gd name="T27" fmla="*/ 2147483647 h 962"/>
                <a:gd name="T28" fmla="*/ 2147483647 w 1109"/>
                <a:gd name="T29" fmla="*/ 2147483647 h 962"/>
                <a:gd name="T30" fmla="*/ 2147483647 w 1109"/>
                <a:gd name="T31" fmla="*/ 2147483647 h 962"/>
                <a:gd name="T32" fmla="*/ 2147483647 w 1109"/>
                <a:gd name="T33" fmla="*/ 2147483647 h 962"/>
                <a:gd name="T34" fmla="*/ 2147483647 w 1109"/>
                <a:gd name="T35" fmla="*/ 2147483647 h 962"/>
                <a:gd name="T36" fmla="*/ 2147483647 w 1109"/>
                <a:gd name="T37" fmla="*/ 2147483647 h 962"/>
                <a:gd name="T38" fmla="*/ 0 w 1109"/>
                <a:gd name="T39" fmla="*/ 0 h 962"/>
                <a:gd name="T40" fmla="*/ 2147483647 w 1109"/>
                <a:gd name="T41" fmla="*/ 2147483647 h 962"/>
                <a:gd name="T42" fmla="*/ 2147483647 w 1109"/>
                <a:gd name="T43" fmla="*/ 2147483647 h 962"/>
                <a:gd name="T44" fmla="*/ 2147483647 w 1109"/>
                <a:gd name="T45" fmla="*/ 2147483647 h 962"/>
                <a:gd name="T46" fmla="*/ 2147483647 w 1109"/>
                <a:gd name="T47" fmla="*/ 2147483647 h 962"/>
                <a:gd name="T48" fmla="*/ 2147483647 w 1109"/>
                <a:gd name="T49" fmla="*/ 2147483647 h 962"/>
                <a:gd name="T50" fmla="*/ 2147483647 w 1109"/>
                <a:gd name="T51" fmla="*/ 2147483647 h 962"/>
                <a:gd name="T52" fmla="*/ 2147483647 w 1109"/>
                <a:gd name="T53" fmla="*/ 2147483647 h 962"/>
                <a:gd name="T54" fmla="*/ 2147483647 w 1109"/>
                <a:gd name="T55" fmla="*/ 2147483647 h 962"/>
                <a:gd name="T56" fmla="*/ 2147483647 w 1109"/>
                <a:gd name="T57" fmla="*/ 2147483647 h 962"/>
                <a:gd name="T58" fmla="*/ 2147483647 w 1109"/>
                <a:gd name="T59" fmla="*/ 2147483647 h 962"/>
                <a:gd name="T60" fmla="*/ 2147483647 w 1109"/>
                <a:gd name="T61" fmla="*/ 2147483647 h 96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109"/>
                <a:gd name="T94" fmla="*/ 0 h 962"/>
                <a:gd name="T95" fmla="*/ 1109 w 1109"/>
                <a:gd name="T96" fmla="*/ 962 h 962"/>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109" h="962">
                  <a:moveTo>
                    <a:pt x="246" y="959"/>
                  </a:moveTo>
                  <a:lnTo>
                    <a:pt x="839" y="961"/>
                  </a:lnTo>
                  <a:lnTo>
                    <a:pt x="934" y="786"/>
                  </a:lnTo>
                  <a:lnTo>
                    <a:pt x="1023" y="611"/>
                  </a:lnTo>
                  <a:lnTo>
                    <a:pt x="1108" y="429"/>
                  </a:lnTo>
                  <a:lnTo>
                    <a:pt x="930" y="539"/>
                  </a:lnTo>
                  <a:lnTo>
                    <a:pt x="885" y="471"/>
                  </a:lnTo>
                  <a:lnTo>
                    <a:pt x="837" y="406"/>
                  </a:lnTo>
                  <a:lnTo>
                    <a:pt x="783" y="344"/>
                  </a:lnTo>
                  <a:lnTo>
                    <a:pt x="724" y="287"/>
                  </a:lnTo>
                  <a:lnTo>
                    <a:pt x="663" y="235"/>
                  </a:lnTo>
                  <a:lnTo>
                    <a:pt x="598" y="188"/>
                  </a:lnTo>
                  <a:lnTo>
                    <a:pt x="530" y="145"/>
                  </a:lnTo>
                  <a:lnTo>
                    <a:pt x="460" y="107"/>
                  </a:lnTo>
                  <a:lnTo>
                    <a:pt x="387" y="75"/>
                  </a:lnTo>
                  <a:lnTo>
                    <a:pt x="311" y="48"/>
                  </a:lnTo>
                  <a:lnTo>
                    <a:pt x="236" y="27"/>
                  </a:lnTo>
                  <a:lnTo>
                    <a:pt x="158" y="12"/>
                  </a:lnTo>
                  <a:lnTo>
                    <a:pt x="79" y="2"/>
                  </a:lnTo>
                  <a:lnTo>
                    <a:pt x="0" y="0"/>
                  </a:lnTo>
                  <a:lnTo>
                    <a:pt x="210" y="277"/>
                  </a:lnTo>
                  <a:lnTo>
                    <a:pt x="80" y="601"/>
                  </a:lnTo>
                  <a:lnTo>
                    <a:pt x="134" y="614"/>
                  </a:lnTo>
                  <a:lnTo>
                    <a:pt x="186" y="631"/>
                  </a:lnTo>
                  <a:lnTo>
                    <a:pt x="236" y="654"/>
                  </a:lnTo>
                  <a:lnTo>
                    <a:pt x="283" y="681"/>
                  </a:lnTo>
                  <a:lnTo>
                    <a:pt x="328" y="715"/>
                  </a:lnTo>
                  <a:lnTo>
                    <a:pt x="370" y="752"/>
                  </a:lnTo>
                  <a:lnTo>
                    <a:pt x="408" y="792"/>
                  </a:lnTo>
                  <a:lnTo>
                    <a:pt x="446" y="837"/>
                  </a:lnTo>
                  <a:lnTo>
                    <a:pt x="246" y="959"/>
                  </a:lnTo>
                </a:path>
              </a:pathLst>
            </a:custGeom>
            <a:solidFill>
              <a:schemeClr val="accent1"/>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6" name="Freeform 35"/>
            <p:cNvSpPr>
              <a:spLocks/>
            </p:cNvSpPr>
            <p:nvPr/>
          </p:nvSpPr>
          <p:spPr bwMode="blackWhite">
            <a:xfrm>
              <a:off x="1905000" y="1773238"/>
              <a:ext cx="3573463" cy="1779587"/>
            </a:xfrm>
            <a:custGeom>
              <a:avLst/>
              <a:gdLst>
                <a:gd name="T0" fmla="*/ 0 w 2206"/>
                <a:gd name="T1" fmla="*/ 2147483647 h 1099"/>
                <a:gd name="T2" fmla="*/ 2147483647 w 2206"/>
                <a:gd name="T3" fmla="*/ 2147483647 h 1099"/>
                <a:gd name="T4" fmla="*/ 2147483647 w 2206"/>
                <a:gd name="T5" fmla="*/ 2147483647 h 1099"/>
                <a:gd name="T6" fmla="*/ 2147483647 w 2206"/>
                <a:gd name="T7" fmla="*/ 2147483647 h 1099"/>
                <a:gd name="T8" fmla="*/ 2147483647 w 2206"/>
                <a:gd name="T9" fmla="*/ 2147483647 h 1099"/>
                <a:gd name="T10" fmla="*/ 2147483647 w 2206"/>
                <a:gd name="T11" fmla="*/ 2147483647 h 1099"/>
                <a:gd name="T12" fmla="*/ 2147483647 w 2206"/>
                <a:gd name="T13" fmla="*/ 2147483647 h 1099"/>
                <a:gd name="T14" fmla="*/ 2147483647 w 2206"/>
                <a:gd name="T15" fmla="*/ 2147483647 h 1099"/>
                <a:gd name="T16" fmla="*/ 2147483647 w 2206"/>
                <a:gd name="T17" fmla="*/ 2147483647 h 1099"/>
                <a:gd name="T18" fmla="*/ 2147483647 w 2206"/>
                <a:gd name="T19" fmla="*/ 2147483647 h 1099"/>
                <a:gd name="T20" fmla="*/ 2147483647 w 2206"/>
                <a:gd name="T21" fmla="*/ 2147483647 h 1099"/>
                <a:gd name="T22" fmla="*/ 2147483647 w 2206"/>
                <a:gd name="T23" fmla="*/ 2147483647 h 1099"/>
                <a:gd name="T24" fmla="*/ 2147483647 w 2206"/>
                <a:gd name="T25" fmla="*/ 2147483647 h 1099"/>
                <a:gd name="T26" fmla="*/ 2147483647 w 2206"/>
                <a:gd name="T27" fmla="*/ 2147483647 h 1099"/>
                <a:gd name="T28" fmla="*/ 2147483647 w 2206"/>
                <a:gd name="T29" fmla="*/ 0 h 1099"/>
                <a:gd name="T30" fmla="*/ 2147483647 w 2206"/>
                <a:gd name="T31" fmla="*/ 2147483647 h 1099"/>
                <a:gd name="T32" fmla="*/ 0 w 2206"/>
                <a:gd name="T33" fmla="*/ 2147483647 h 1099"/>
                <a:gd name="T34" fmla="*/ 0 w 2206"/>
                <a:gd name="T35" fmla="*/ 2147483647 h 109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06"/>
                <a:gd name="T55" fmla="*/ 0 h 1099"/>
                <a:gd name="T56" fmla="*/ 2206 w 2206"/>
                <a:gd name="T57" fmla="*/ 1099 h 109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06" h="1099">
                  <a:moveTo>
                    <a:pt x="0" y="864"/>
                  </a:moveTo>
                  <a:lnTo>
                    <a:pt x="1339" y="864"/>
                  </a:lnTo>
                  <a:lnTo>
                    <a:pt x="1552" y="1098"/>
                  </a:lnTo>
                  <a:lnTo>
                    <a:pt x="1587" y="1045"/>
                  </a:lnTo>
                  <a:lnTo>
                    <a:pt x="1625" y="996"/>
                  </a:lnTo>
                  <a:lnTo>
                    <a:pt x="1666" y="948"/>
                  </a:lnTo>
                  <a:lnTo>
                    <a:pt x="1711" y="906"/>
                  </a:lnTo>
                  <a:lnTo>
                    <a:pt x="1754" y="872"/>
                  </a:lnTo>
                  <a:lnTo>
                    <a:pt x="1800" y="845"/>
                  </a:lnTo>
                  <a:lnTo>
                    <a:pt x="1850" y="822"/>
                  </a:lnTo>
                  <a:lnTo>
                    <a:pt x="1900" y="803"/>
                  </a:lnTo>
                  <a:lnTo>
                    <a:pt x="1953" y="790"/>
                  </a:lnTo>
                  <a:lnTo>
                    <a:pt x="1983" y="1013"/>
                  </a:lnTo>
                  <a:lnTo>
                    <a:pt x="2205" y="471"/>
                  </a:lnTo>
                  <a:lnTo>
                    <a:pt x="1872" y="0"/>
                  </a:lnTo>
                  <a:lnTo>
                    <a:pt x="1873" y="196"/>
                  </a:lnTo>
                  <a:lnTo>
                    <a:pt x="0" y="196"/>
                  </a:lnTo>
                  <a:lnTo>
                    <a:pt x="0" y="864"/>
                  </a:lnTo>
                </a:path>
              </a:pathLst>
            </a:custGeom>
            <a:solidFill>
              <a:schemeClr val="bg2"/>
            </a:solidFill>
            <a:ln w="12700" cap="rnd">
              <a:solidFill>
                <a:schemeClr val="bg1"/>
              </a:solidFill>
              <a:round/>
              <a:headEnd/>
              <a:tailEnd/>
            </a:ln>
          </p:spPr>
          <p:txBody>
            <a:bodyPr lIns="36000" tIns="36000" rIns="36000" bIns="36000"/>
            <a:lstStyle/>
            <a:p>
              <a:endParaRPr lang="en-US" sz="1400">
                <a:solidFill>
                  <a:schemeClr val="bg1"/>
                </a:solidFill>
              </a:endParaRPr>
            </a:p>
          </p:txBody>
        </p:sp>
        <p:sp>
          <p:nvSpPr>
            <p:cNvPr id="37" name="Freeform 36"/>
            <p:cNvSpPr>
              <a:spLocks/>
            </p:cNvSpPr>
            <p:nvPr/>
          </p:nvSpPr>
          <p:spPr bwMode="blackWhite">
            <a:xfrm>
              <a:off x="4867275" y="4592638"/>
              <a:ext cx="1806575" cy="1716087"/>
            </a:xfrm>
            <a:custGeom>
              <a:avLst/>
              <a:gdLst>
                <a:gd name="T0" fmla="*/ 0 w 1115"/>
                <a:gd name="T1" fmla="*/ 857233 h 1059"/>
                <a:gd name="T2" fmla="*/ 489786 w 1115"/>
                <a:gd name="T3" fmla="*/ 1714467 h 1059"/>
                <a:gd name="T4" fmla="*/ 489786 w 1115"/>
                <a:gd name="T5" fmla="*/ 1320690 h 1059"/>
                <a:gd name="T6" fmla="*/ 619693 w 1115"/>
                <a:gd name="T7" fmla="*/ 1309347 h 1059"/>
                <a:gd name="T8" fmla="*/ 753111 w 1115"/>
                <a:gd name="T9" fmla="*/ 1288280 h 1059"/>
                <a:gd name="T10" fmla="*/ 881263 w 1115"/>
                <a:gd name="T11" fmla="*/ 1259112 h 1059"/>
                <a:gd name="T12" fmla="*/ 1005904 w 1115"/>
                <a:gd name="T13" fmla="*/ 1221841 h 1059"/>
                <a:gd name="T14" fmla="*/ 1128789 w 1115"/>
                <a:gd name="T15" fmla="*/ 1176467 h 1059"/>
                <a:gd name="T16" fmla="*/ 1249919 w 1115"/>
                <a:gd name="T17" fmla="*/ 1122992 h 1059"/>
                <a:gd name="T18" fmla="*/ 1365782 w 1115"/>
                <a:gd name="T19" fmla="*/ 1061413 h 1059"/>
                <a:gd name="T20" fmla="*/ 1479890 w 1115"/>
                <a:gd name="T21" fmla="*/ 993353 h 1059"/>
                <a:gd name="T22" fmla="*/ 1581709 w 1115"/>
                <a:gd name="T23" fmla="*/ 913950 h 1059"/>
                <a:gd name="T24" fmla="*/ 1687039 w 1115"/>
                <a:gd name="T25" fmla="*/ 831306 h 1059"/>
                <a:gd name="T26" fmla="*/ 1781836 w 1115"/>
                <a:gd name="T27" fmla="*/ 738938 h 1059"/>
                <a:gd name="T28" fmla="*/ 1874878 w 1115"/>
                <a:gd name="T29" fmla="*/ 640089 h 1059"/>
                <a:gd name="T30" fmla="*/ 1955631 w 1115"/>
                <a:gd name="T31" fmla="*/ 539619 h 1059"/>
                <a:gd name="T32" fmla="*/ 1362271 w 1115"/>
                <a:gd name="T33" fmla="*/ 570408 h 1059"/>
                <a:gd name="T34" fmla="*/ 1093679 w 1115"/>
                <a:gd name="T35" fmla="*/ 58337 h 1059"/>
                <a:gd name="T36" fmla="*/ 1037503 w 1115"/>
                <a:gd name="T37" fmla="*/ 111813 h 1059"/>
                <a:gd name="T38" fmla="*/ 977816 w 1115"/>
                <a:gd name="T39" fmla="*/ 158807 h 1059"/>
                <a:gd name="T40" fmla="*/ 905840 w 1115"/>
                <a:gd name="T41" fmla="*/ 207421 h 1059"/>
                <a:gd name="T42" fmla="*/ 828598 w 1115"/>
                <a:gd name="T43" fmla="*/ 254415 h 1059"/>
                <a:gd name="T44" fmla="*/ 746089 w 1115"/>
                <a:gd name="T45" fmla="*/ 288445 h 1059"/>
                <a:gd name="T46" fmla="*/ 665336 w 1115"/>
                <a:gd name="T47" fmla="*/ 319234 h 1059"/>
                <a:gd name="T48" fmla="*/ 579316 w 1115"/>
                <a:gd name="T49" fmla="*/ 341921 h 1059"/>
                <a:gd name="T50" fmla="*/ 489786 w 1115"/>
                <a:gd name="T51" fmla="*/ 356505 h 1059"/>
                <a:gd name="T52" fmla="*/ 489786 w 1115"/>
                <a:gd name="T53" fmla="*/ 0 h 1059"/>
                <a:gd name="T54" fmla="*/ 0 w 1115"/>
                <a:gd name="T55" fmla="*/ 857233 h 1059"/>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15"/>
                <a:gd name="T85" fmla="*/ 0 h 1059"/>
                <a:gd name="T86" fmla="*/ 1115 w 1115"/>
                <a:gd name="T87" fmla="*/ 1059 h 1059"/>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15" h="1059">
                  <a:moveTo>
                    <a:pt x="0" y="529"/>
                  </a:moveTo>
                  <a:lnTo>
                    <a:pt x="279" y="1058"/>
                  </a:lnTo>
                  <a:lnTo>
                    <a:pt x="279" y="815"/>
                  </a:lnTo>
                  <a:lnTo>
                    <a:pt x="353" y="808"/>
                  </a:lnTo>
                  <a:lnTo>
                    <a:pt x="429" y="795"/>
                  </a:lnTo>
                  <a:lnTo>
                    <a:pt x="502" y="777"/>
                  </a:lnTo>
                  <a:lnTo>
                    <a:pt x="573" y="754"/>
                  </a:lnTo>
                  <a:lnTo>
                    <a:pt x="643" y="726"/>
                  </a:lnTo>
                  <a:lnTo>
                    <a:pt x="712" y="693"/>
                  </a:lnTo>
                  <a:lnTo>
                    <a:pt x="778" y="655"/>
                  </a:lnTo>
                  <a:lnTo>
                    <a:pt x="843" y="613"/>
                  </a:lnTo>
                  <a:lnTo>
                    <a:pt x="901" y="564"/>
                  </a:lnTo>
                  <a:lnTo>
                    <a:pt x="961" y="513"/>
                  </a:lnTo>
                  <a:lnTo>
                    <a:pt x="1015" y="456"/>
                  </a:lnTo>
                  <a:lnTo>
                    <a:pt x="1068" y="395"/>
                  </a:lnTo>
                  <a:lnTo>
                    <a:pt x="1114" y="333"/>
                  </a:lnTo>
                  <a:lnTo>
                    <a:pt x="776" y="352"/>
                  </a:lnTo>
                  <a:lnTo>
                    <a:pt x="623" y="36"/>
                  </a:lnTo>
                  <a:lnTo>
                    <a:pt x="591" y="69"/>
                  </a:lnTo>
                  <a:lnTo>
                    <a:pt x="557" y="98"/>
                  </a:lnTo>
                  <a:lnTo>
                    <a:pt x="516" y="128"/>
                  </a:lnTo>
                  <a:lnTo>
                    <a:pt x="472" y="157"/>
                  </a:lnTo>
                  <a:lnTo>
                    <a:pt x="425" y="178"/>
                  </a:lnTo>
                  <a:lnTo>
                    <a:pt x="379" y="197"/>
                  </a:lnTo>
                  <a:lnTo>
                    <a:pt x="330" y="211"/>
                  </a:lnTo>
                  <a:lnTo>
                    <a:pt x="279" y="220"/>
                  </a:lnTo>
                  <a:lnTo>
                    <a:pt x="279" y="0"/>
                  </a:lnTo>
                  <a:lnTo>
                    <a:pt x="0" y="529"/>
                  </a:lnTo>
                </a:path>
              </a:pathLst>
            </a:custGeom>
            <a:solidFill>
              <a:schemeClr val="accent3"/>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39" name="Freeform 38"/>
            <p:cNvSpPr>
              <a:spLocks/>
            </p:cNvSpPr>
            <p:nvPr/>
          </p:nvSpPr>
          <p:spPr bwMode="blackWhite">
            <a:xfrm>
              <a:off x="3294063" y="4378325"/>
              <a:ext cx="1719262" cy="1531938"/>
            </a:xfrm>
            <a:custGeom>
              <a:avLst/>
              <a:gdLst>
                <a:gd name="T0" fmla="*/ 2147483647 w 1061"/>
                <a:gd name="T1" fmla="*/ 0 h 946"/>
                <a:gd name="T2" fmla="*/ 0 w 1061"/>
                <a:gd name="T3" fmla="*/ 2147483647 h 946"/>
                <a:gd name="T4" fmla="*/ 2147483647 w 1061"/>
                <a:gd name="T5" fmla="*/ 2147483647 h 946"/>
                <a:gd name="T6" fmla="*/ 2147483647 w 1061"/>
                <a:gd name="T7" fmla="*/ 2147483647 h 946"/>
                <a:gd name="T8" fmla="*/ 2147483647 w 1061"/>
                <a:gd name="T9" fmla="*/ 2147483647 h 946"/>
                <a:gd name="T10" fmla="*/ 2147483647 w 1061"/>
                <a:gd name="T11" fmla="*/ 2147483647 h 946"/>
                <a:gd name="T12" fmla="*/ 2147483647 w 1061"/>
                <a:gd name="T13" fmla="*/ 2147483647 h 946"/>
                <a:gd name="T14" fmla="*/ 2147483647 w 1061"/>
                <a:gd name="T15" fmla="*/ 2147483647 h 946"/>
                <a:gd name="T16" fmla="*/ 2147483647 w 1061"/>
                <a:gd name="T17" fmla="*/ 2147483647 h 946"/>
                <a:gd name="T18" fmla="*/ 2147483647 w 1061"/>
                <a:gd name="T19" fmla="*/ 2147483647 h 946"/>
                <a:gd name="T20" fmla="*/ 2147483647 w 1061"/>
                <a:gd name="T21" fmla="*/ 2147483647 h 946"/>
                <a:gd name="T22" fmla="*/ 2147483647 w 1061"/>
                <a:gd name="T23" fmla="*/ 2147483647 h 946"/>
                <a:gd name="T24" fmla="*/ 2147483647 w 1061"/>
                <a:gd name="T25" fmla="*/ 2147483647 h 946"/>
                <a:gd name="T26" fmla="*/ 2147483647 w 1061"/>
                <a:gd name="T27" fmla="*/ 2147483647 h 946"/>
                <a:gd name="T28" fmla="*/ 2147483647 w 1061"/>
                <a:gd name="T29" fmla="*/ 2147483647 h 946"/>
                <a:gd name="T30" fmla="*/ 2147483647 w 1061"/>
                <a:gd name="T31" fmla="*/ 2147483647 h 946"/>
                <a:gd name="T32" fmla="*/ 2147483647 w 1061"/>
                <a:gd name="T33" fmla="*/ 2147483647 h 946"/>
                <a:gd name="T34" fmla="*/ 2147483647 w 1061"/>
                <a:gd name="T35" fmla="*/ 2147483647 h 946"/>
                <a:gd name="T36" fmla="*/ 2147483647 w 1061"/>
                <a:gd name="T37" fmla="*/ 2147483647 h 946"/>
                <a:gd name="T38" fmla="*/ 2147483647 w 1061"/>
                <a:gd name="T39" fmla="*/ 2147483647 h 946"/>
                <a:gd name="T40" fmla="*/ 2147483647 w 1061"/>
                <a:gd name="T41" fmla="*/ 2147483647 h 946"/>
                <a:gd name="T42" fmla="*/ 2147483647 w 1061"/>
                <a:gd name="T43" fmla="*/ 2147483647 h 946"/>
                <a:gd name="T44" fmla="*/ 2147483647 w 1061"/>
                <a:gd name="T45" fmla="*/ 2147483647 h 946"/>
                <a:gd name="T46" fmla="*/ 2147483647 w 1061"/>
                <a:gd name="T47" fmla="*/ 2147483647 h 946"/>
                <a:gd name="T48" fmla="*/ 2147483647 w 1061"/>
                <a:gd name="T49" fmla="*/ 2147483647 h 946"/>
                <a:gd name="T50" fmla="*/ 2147483647 w 1061"/>
                <a:gd name="T51" fmla="*/ 0 h 94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061"/>
                <a:gd name="T79" fmla="*/ 0 h 946"/>
                <a:gd name="T80" fmla="*/ 1061 w 1061"/>
                <a:gd name="T81" fmla="*/ 946 h 94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061" h="946">
                  <a:moveTo>
                    <a:pt x="372" y="0"/>
                  </a:moveTo>
                  <a:lnTo>
                    <a:pt x="0" y="477"/>
                  </a:lnTo>
                  <a:lnTo>
                    <a:pt x="207" y="395"/>
                  </a:lnTo>
                  <a:lnTo>
                    <a:pt x="252" y="466"/>
                  </a:lnTo>
                  <a:lnTo>
                    <a:pt x="302" y="531"/>
                  </a:lnTo>
                  <a:lnTo>
                    <a:pt x="354" y="592"/>
                  </a:lnTo>
                  <a:lnTo>
                    <a:pt x="410" y="649"/>
                  </a:lnTo>
                  <a:lnTo>
                    <a:pt x="471" y="703"/>
                  </a:lnTo>
                  <a:lnTo>
                    <a:pt x="535" y="751"/>
                  </a:lnTo>
                  <a:lnTo>
                    <a:pt x="602" y="795"/>
                  </a:lnTo>
                  <a:lnTo>
                    <a:pt x="670" y="833"/>
                  </a:lnTo>
                  <a:lnTo>
                    <a:pt x="745" y="867"/>
                  </a:lnTo>
                  <a:lnTo>
                    <a:pt x="818" y="894"/>
                  </a:lnTo>
                  <a:lnTo>
                    <a:pt x="894" y="917"/>
                  </a:lnTo>
                  <a:lnTo>
                    <a:pt x="970" y="934"/>
                  </a:lnTo>
                  <a:lnTo>
                    <a:pt x="1048" y="945"/>
                  </a:lnTo>
                  <a:lnTo>
                    <a:pt x="896" y="669"/>
                  </a:lnTo>
                  <a:lnTo>
                    <a:pt x="1060" y="347"/>
                  </a:lnTo>
                  <a:lnTo>
                    <a:pt x="1004" y="334"/>
                  </a:lnTo>
                  <a:lnTo>
                    <a:pt x="951" y="315"/>
                  </a:lnTo>
                  <a:lnTo>
                    <a:pt x="898" y="290"/>
                  </a:lnTo>
                  <a:lnTo>
                    <a:pt x="850" y="260"/>
                  </a:lnTo>
                  <a:lnTo>
                    <a:pt x="802" y="223"/>
                  </a:lnTo>
                  <a:lnTo>
                    <a:pt x="761" y="184"/>
                  </a:lnTo>
                  <a:lnTo>
                    <a:pt x="938" y="113"/>
                  </a:lnTo>
                  <a:lnTo>
                    <a:pt x="372" y="0"/>
                  </a:lnTo>
                </a:path>
              </a:pathLst>
            </a:custGeom>
            <a:solidFill>
              <a:schemeClr val="accent5"/>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0" name="Freeform 39"/>
            <p:cNvSpPr>
              <a:spLocks/>
            </p:cNvSpPr>
            <p:nvPr/>
          </p:nvSpPr>
          <p:spPr bwMode="blackWhite">
            <a:xfrm>
              <a:off x="3134390" y="3065463"/>
              <a:ext cx="1531273" cy="1709737"/>
            </a:xfrm>
            <a:custGeom>
              <a:avLst/>
              <a:gdLst>
                <a:gd name="T0" fmla="*/ 2147483647 w 866"/>
                <a:gd name="T1" fmla="*/ 0 h 1055"/>
                <a:gd name="T2" fmla="*/ 0 w 866"/>
                <a:gd name="T3" fmla="*/ 2147483647 h 1055"/>
                <a:gd name="T4" fmla="*/ 2147483647 w 866"/>
                <a:gd name="T5" fmla="*/ 2147483647 h 1055"/>
                <a:gd name="T6" fmla="*/ 2147483647 w 866"/>
                <a:gd name="T7" fmla="*/ 2147483647 h 1055"/>
                <a:gd name="T8" fmla="*/ 2147483647 w 866"/>
                <a:gd name="T9" fmla="*/ 2147483647 h 1055"/>
                <a:gd name="T10" fmla="*/ 2147483647 w 866"/>
                <a:gd name="T11" fmla="*/ 2147483647 h 1055"/>
                <a:gd name="T12" fmla="*/ 2147483647 w 866"/>
                <a:gd name="T13" fmla="*/ 2147483647 h 1055"/>
                <a:gd name="T14" fmla="*/ 2147483647 w 866"/>
                <a:gd name="T15" fmla="*/ 2147483647 h 1055"/>
                <a:gd name="T16" fmla="*/ 2147483647 w 866"/>
                <a:gd name="T17" fmla="*/ 2147483647 h 1055"/>
                <a:gd name="T18" fmla="*/ 2147483647 w 866"/>
                <a:gd name="T19" fmla="*/ 2147483647 h 1055"/>
                <a:gd name="T20" fmla="*/ 2147483647 w 866"/>
                <a:gd name="T21" fmla="*/ 2147483647 h 1055"/>
                <a:gd name="T22" fmla="*/ 2147483647 w 866"/>
                <a:gd name="T23" fmla="*/ 2147483647 h 1055"/>
                <a:gd name="T24" fmla="*/ 2147483647 w 866"/>
                <a:gd name="T25" fmla="*/ 2147483647 h 1055"/>
                <a:gd name="T26" fmla="*/ 2147483647 w 866"/>
                <a:gd name="T27" fmla="*/ 2147483647 h 1055"/>
                <a:gd name="T28" fmla="*/ 2147483647 w 866"/>
                <a:gd name="T29" fmla="*/ 2147483647 h 1055"/>
                <a:gd name="T30" fmla="*/ 2147483647 w 866"/>
                <a:gd name="T31" fmla="*/ 2147483647 h 1055"/>
                <a:gd name="T32" fmla="*/ 2147483647 w 866"/>
                <a:gd name="T33" fmla="*/ 2147483647 h 1055"/>
                <a:gd name="T34" fmla="*/ 2147483647 w 866"/>
                <a:gd name="T35" fmla="*/ 2147483647 h 1055"/>
                <a:gd name="T36" fmla="*/ 2147483647 w 866"/>
                <a:gd name="T37" fmla="*/ 2147483647 h 1055"/>
                <a:gd name="T38" fmla="*/ 2147483647 w 866"/>
                <a:gd name="T39" fmla="*/ 2147483647 h 1055"/>
                <a:gd name="T40" fmla="*/ 2147483647 w 866"/>
                <a:gd name="T41" fmla="*/ 2147483647 h 1055"/>
                <a:gd name="T42" fmla="*/ 2147483647 w 866"/>
                <a:gd name="T43" fmla="*/ 2147483647 h 1055"/>
                <a:gd name="T44" fmla="*/ 2147483647 w 866"/>
                <a:gd name="T45" fmla="*/ 2147483647 h 1055"/>
                <a:gd name="T46" fmla="*/ 2147483647 w 866"/>
                <a:gd name="T47" fmla="*/ 2147483647 h 1055"/>
                <a:gd name="T48" fmla="*/ 2147483647 w 866"/>
                <a:gd name="T49" fmla="*/ 2147483647 h 1055"/>
                <a:gd name="T50" fmla="*/ 2147483647 w 866"/>
                <a:gd name="T51" fmla="*/ 0 h 10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866"/>
                <a:gd name="T79" fmla="*/ 0 h 1055"/>
                <a:gd name="T80" fmla="*/ 866 w 866"/>
                <a:gd name="T81" fmla="*/ 1055 h 10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866" h="1055">
                  <a:moveTo>
                    <a:pt x="571" y="0"/>
                  </a:moveTo>
                  <a:lnTo>
                    <a:pt x="0" y="1"/>
                  </a:lnTo>
                  <a:lnTo>
                    <a:pt x="178" y="111"/>
                  </a:lnTo>
                  <a:lnTo>
                    <a:pt x="153" y="187"/>
                  </a:lnTo>
                  <a:lnTo>
                    <a:pt x="130" y="264"/>
                  </a:lnTo>
                  <a:lnTo>
                    <a:pt x="113" y="343"/>
                  </a:lnTo>
                  <a:lnTo>
                    <a:pt x="100" y="423"/>
                  </a:lnTo>
                  <a:lnTo>
                    <a:pt x="94" y="504"/>
                  </a:lnTo>
                  <a:lnTo>
                    <a:pt x="93" y="583"/>
                  </a:lnTo>
                  <a:lnTo>
                    <a:pt x="95" y="664"/>
                  </a:lnTo>
                  <a:lnTo>
                    <a:pt x="104" y="744"/>
                  </a:lnTo>
                  <a:lnTo>
                    <a:pt x="118" y="824"/>
                  </a:lnTo>
                  <a:lnTo>
                    <a:pt x="136" y="903"/>
                  </a:lnTo>
                  <a:lnTo>
                    <a:pt x="159" y="979"/>
                  </a:lnTo>
                  <a:lnTo>
                    <a:pt x="189" y="1054"/>
                  </a:lnTo>
                  <a:lnTo>
                    <a:pt x="412" y="766"/>
                  </a:lnTo>
                  <a:lnTo>
                    <a:pt x="702" y="816"/>
                  </a:lnTo>
                  <a:lnTo>
                    <a:pt x="681" y="760"/>
                  </a:lnTo>
                  <a:lnTo>
                    <a:pt x="666" y="705"/>
                  </a:lnTo>
                  <a:lnTo>
                    <a:pt x="658" y="647"/>
                  </a:lnTo>
                  <a:lnTo>
                    <a:pt x="652" y="588"/>
                  </a:lnTo>
                  <a:lnTo>
                    <a:pt x="652" y="529"/>
                  </a:lnTo>
                  <a:lnTo>
                    <a:pt x="660" y="470"/>
                  </a:lnTo>
                  <a:lnTo>
                    <a:pt x="672" y="413"/>
                  </a:lnTo>
                  <a:lnTo>
                    <a:pt x="865" y="531"/>
                  </a:lnTo>
                  <a:lnTo>
                    <a:pt x="571" y="0"/>
                  </a:lnTo>
                </a:path>
              </a:pathLst>
            </a:custGeom>
            <a:solidFill>
              <a:srgbClr val="FFC000"/>
            </a:solidFill>
            <a:ln w="12700" cap="rnd">
              <a:solidFill>
                <a:schemeClr val="bg1"/>
              </a:solidFill>
              <a:round/>
              <a:headEnd/>
              <a:tailEnd/>
            </a:ln>
          </p:spPr>
          <p:txBody>
            <a:bodyPr lIns="36000" tIns="36000" rIns="36000" bIns="36000"/>
            <a:lstStyle/>
            <a:p>
              <a:pPr>
                <a:defRPr/>
              </a:pPr>
              <a:endParaRPr lang="en-US" sz="1400">
                <a:solidFill>
                  <a:schemeClr val="bg1"/>
                </a:solidFill>
              </a:endParaRPr>
            </a:p>
          </p:txBody>
        </p:sp>
        <p:sp>
          <p:nvSpPr>
            <p:cNvPr id="41" name="Rectangle 40"/>
            <p:cNvSpPr>
              <a:spLocks noChangeArrowheads="1"/>
            </p:cNvSpPr>
            <p:nvPr/>
          </p:nvSpPr>
          <p:spPr bwMode="blackWhite">
            <a:xfrm>
              <a:off x="2898547" y="2538471"/>
              <a:ext cx="1413336" cy="204671"/>
            </a:xfrm>
            <a:prstGeom prst="rect">
              <a:avLst/>
            </a:prstGeom>
            <a:noFill/>
            <a:ln w="9525">
              <a:noFill/>
              <a:miter lim="800000"/>
              <a:headEnd/>
              <a:tailEnd/>
            </a:ln>
          </p:spPr>
          <p:txBody>
            <a:bodyPr wrap="none" lIns="0" tIns="0" rIns="0" bIns="0" anchor="ctr">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 White</a:t>
              </a:r>
              <a:r>
                <a:rPr lang="en-US" sz="1400" baseline="0">
                  <a:solidFill>
                    <a:schemeClr val="bg1"/>
                  </a:solidFill>
                </a:rPr>
                <a:t>. 14PT</a:t>
              </a:r>
              <a:endParaRPr lang="en-US" sz="1400">
                <a:solidFill>
                  <a:schemeClr val="bg1"/>
                </a:solidFill>
              </a:endParaRPr>
            </a:p>
          </p:txBody>
        </p:sp>
        <p:sp>
          <p:nvSpPr>
            <p:cNvPr id="42" name="Rectangle 41"/>
            <p:cNvSpPr>
              <a:spLocks noChangeArrowheads="1"/>
            </p:cNvSpPr>
            <p:nvPr/>
          </p:nvSpPr>
          <p:spPr bwMode="blackWhite">
            <a:xfrm>
              <a:off x="5890738" y="2805171"/>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3" name="Rectangle 42"/>
            <p:cNvSpPr>
              <a:spLocks noChangeArrowheads="1"/>
            </p:cNvSpPr>
            <p:nvPr/>
          </p:nvSpPr>
          <p:spPr bwMode="blackWhite">
            <a:xfrm>
              <a:off x="6370162" y="4146609"/>
              <a:ext cx="327975"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4" name="Rectangle 43"/>
            <p:cNvSpPr>
              <a:spLocks noChangeArrowheads="1"/>
            </p:cNvSpPr>
            <p:nvPr/>
          </p:nvSpPr>
          <p:spPr bwMode="blackWhite">
            <a:xfrm>
              <a:off x="5501800" y="5259446"/>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5" name="Rectangle 44"/>
            <p:cNvSpPr>
              <a:spLocks noChangeArrowheads="1"/>
            </p:cNvSpPr>
            <p:nvPr/>
          </p:nvSpPr>
          <p:spPr bwMode="blackWhite">
            <a:xfrm>
              <a:off x="4166713" y="496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sp>
          <p:nvSpPr>
            <p:cNvPr id="46" name="Rectangle 45"/>
            <p:cNvSpPr>
              <a:spLocks noChangeArrowheads="1"/>
            </p:cNvSpPr>
            <p:nvPr/>
          </p:nvSpPr>
          <p:spPr bwMode="blackWhite">
            <a:xfrm>
              <a:off x="3627624" y="3692584"/>
              <a:ext cx="327974" cy="204671"/>
            </a:xfrm>
            <a:prstGeom prst="rect">
              <a:avLst/>
            </a:prstGeom>
            <a:noFill/>
            <a:ln w="9525">
              <a:noFill/>
              <a:miter lim="800000"/>
              <a:headEnd/>
              <a:tailEnd/>
            </a:ln>
          </p:spPr>
          <p:txBody>
            <a:bodyPr wrap="none" lIns="0" tIns="0" rIns="0" bIns="0" anchor="ctr" anchorCtr="1">
              <a:spAutoFit/>
            </a:bodyPr>
            <a:lstStyle/>
            <a:p>
              <a:pPr algn="ctr" defTabSz="787400">
                <a:lnSpc>
                  <a:spcPct val="95000"/>
                </a:lnSpc>
                <a:spcBef>
                  <a:spcPct val="80000"/>
                </a:spcBef>
                <a:buClr>
                  <a:schemeClr val="tx1"/>
                </a:buClr>
                <a:buFont typeface="Wingdings 2" pitchFamily="18" charset="2"/>
                <a:buNone/>
              </a:pPr>
              <a:r>
                <a:rPr lang="en-US" sz="1400">
                  <a:solidFill>
                    <a:schemeClr val="bg1"/>
                  </a:solidFill>
                </a:rPr>
                <a:t>Text</a:t>
              </a:r>
            </a:p>
          </p:txBody>
        </p:sp>
      </p:grpSp>
      <p:sp>
        <p:nvSpPr>
          <p:cNvPr id="47"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8"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FA104DF-F896-4123-A29B-C229FD357B0D}" type="datetime2">
              <a:rPr lang="en-US" sz="800" smtClean="0"/>
              <a:t>Sunday, July 17, 2022</a:t>
            </a:fld>
            <a:r>
              <a:rPr lang="en-GB" sz="800"/>
              <a:t>  |</a:t>
            </a:r>
            <a:endParaRPr lang="en-US"/>
          </a:p>
        </p:txBody>
      </p:sp>
      <p:sp>
        <p:nvSpPr>
          <p:cNvPr id="54" name="Text Placeholder 4"/>
          <p:cNvSpPr>
            <a:spLocks noGrp="1"/>
          </p:cNvSpPr>
          <p:nvPr>
            <p:ph type="body" sz="quarter" idx="10" hasCustomPrompt="1"/>
          </p:nvPr>
        </p:nvSpPr>
        <p:spPr>
          <a:xfrm>
            <a:off x="725214" y="1553302"/>
            <a:ext cx="5116786"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Slide designed to be used when you only have a small intro paragraph and bullet points. 18PT</a:t>
            </a:r>
          </a:p>
        </p:txBody>
      </p:sp>
      <p:sp>
        <p:nvSpPr>
          <p:cNvPr id="55" name="Text Placeholder 10"/>
          <p:cNvSpPr>
            <a:spLocks noGrp="1"/>
          </p:cNvSpPr>
          <p:nvPr>
            <p:ph type="body" sz="quarter" idx="12" hasCustomPrompt="1"/>
          </p:nvPr>
        </p:nvSpPr>
        <p:spPr>
          <a:xfrm>
            <a:off x="725214" y="2332847"/>
            <a:ext cx="5116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22"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2579679895"/>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24. LLA Slide - Process Closed Loop with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7061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PROCESS CLOSED LOOP WITH LARGE TEXT</a:t>
            </a:r>
          </a:p>
        </p:txBody>
      </p:sp>
      <p:sp>
        <p:nvSpPr>
          <p:cNvPr id="47" name="Arc 3"/>
          <p:cNvSpPr>
            <a:spLocks/>
          </p:cNvSpPr>
          <p:nvPr userDrawn="1"/>
        </p:nvSpPr>
        <p:spPr bwMode="auto">
          <a:xfrm>
            <a:off x="8555775" y="1924512"/>
            <a:ext cx="2043112" cy="1801812"/>
          </a:xfrm>
          <a:custGeom>
            <a:avLst/>
            <a:gdLst>
              <a:gd name="T0" fmla="*/ 0 w 19173"/>
              <a:gd name="T1" fmla="*/ 0 h 21600"/>
              <a:gd name="T2" fmla="*/ 2147483647 w 19173"/>
              <a:gd name="T3" fmla="*/ 2147483647 h 21600"/>
              <a:gd name="T4" fmla="*/ 0 w 19173"/>
              <a:gd name="T5" fmla="*/ 2147483647 h 21600"/>
              <a:gd name="T6" fmla="*/ 0 60000 65536"/>
              <a:gd name="T7" fmla="*/ 0 60000 65536"/>
              <a:gd name="T8" fmla="*/ 0 60000 65536"/>
              <a:gd name="T9" fmla="*/ 0 w 19173"/>
              <a:gd name="T10" fmla="*/ 0 h 21600"/>
              <a:gd name="T11" fmla="*/ 19173 w 19173"/>
              <a:gd name="T12" fmla="*/ 21600 h 21600"/>
            </a:gdLst>
            <a:ahLst/>
            <a:cxnLst>
              <a:cxn ang="T6">
                <a:pos x="T0" y="T1"/>
              </a:cxn>
              <a:cxn ang="T7">
                <a:pos x="T2" y="T3"/>
              </a:cxn>
              <a:cxn ang="T8">
                <a:pos x="T4" y="T5"/>
              </a:cxn>
            </a:cxnLst>
            <a:rect l="T9" t="T10" r="T11" b="T12"/>
            <a:pathLst>
              <a:path w="19173" h="21600" fill="none" extrusionOk="0">
                <a:moveTo>
                  <a:pt x="-1" y="0"/>
                </a:moveTo>
                <a:cubicBezTo>
                  <a:pt x="8064" y="0"/>
                  <a:pt x="15457" y="4492"/>
                  <a:pt x="19172" y="11651"/>
                </a:cubicBezTo>
              </a:path>
              <a:path w="19173" h="21600" stroke="0" extrusionOk="0">
                <a:moveTo>
                  <a:pt x="-1" y="0"/>
                </a:moveTo>
                <a:cubicBezTo>
                  <a:pt x="8064" y="0"/>
                  <a:pt x="15457" y="4492"/>
                  <a:pt x="19172" y="11651"/>
                </a:cubicBezTo>
                <a:lnTo>
                  <a:pt x="0" y="21600"/>
                </a:lnTo>
                <a:close/>
              </a:path>
            </a:pathLst>
          </a:custGeom>
          <a:noFill/>
          <a:ln w="9525">
            <a:solidFill>
              <a:schemeClr val="tx2"/>
            </a:solidFill>
            <a:round/>
            <a:headEnd/>
            <a:tailEnd type="triangle" w="med" len="med"/>
          </a:ln>
        </p:spPr>
        <p:txBody>
          <a:bodyPr wrap="none" lIns="36000" tIns="36000" rIns="36000" bIns="36000" anchor="ctr"/>
          <a:lstStyle/>
          <a:p>
            <a:pPr algn="ctr">
              <a:defRPr/>
            </a:pPr>
            <a:endParaRPr lang="en-US" sz="1400">
              <a:solidFill>
                <a:schemeClr val="bg1"/>
              </a:solidFill>
            </a:endParaRPr>
          </a:p>
        </p:txBody>
      </p:sp>
      <p:sp>
        <p:nvSpPr>
          <p:cNvPr id="48" name="Arc 4"/>
          <p:cNvSpPr>
            <a:spLocks/>
          </p:cNvSpPr>
          <p:nvPr userDrawn="1"/>
        </p:nvSpPr>
        <p:spPr bwMode="auto">
          <a:xfrm flipV="1">
            <a:off x="8555775" y="3803958"/>
            <a:ext cx="2301875" cy="969963"/>
          </a:xfrm>
          <a:custGeom>
            <a:avLst/>
            <a:gdLst>
              <a:gd name="T0" fmla="*/ 2147483647 w 21600"/>
              <a:gd name="T1" fmla="*/ 0 h 11619"/>
              <a:gd name="T2" fmla="*/ 2147483647 w 21600"/>
              <a:gd name="T3" fmla="*/ 2147483647 h 11619"/>
              <a:gd name="T4" fmla="*/ 0 w 21600"/>
              <a:gd name="T5" fmla="*/ 2147483647 h 11619"/>
              <a:gd name="T6" fmla="*/ 0 60000 65536"/>
              <a:gd name="T7" fmla="*/ 0 60000 65536"/>
              <a:gd name="T8" fmla="*/ 0 60000 65536"/>
              <a:gd name="T9" fmla="*/ 0 w 21600"/>
              <a:gd name="T10" fmla="*/ 0 h 11619"/>
              <a:gd name="T11" fmla="*/ 21600 w 21600"/>
              <a:gd name="T12" fmla="*/ 11619 h 11619"/>
            </a:gdLst>
            <a:ahLst/>
            <a:cxnLst>
              <a:cxn ang="T6">
                <a:pos x="T0" y="T1"/>
              </a:cxn>
              <a:cxn ang="T7">
                <a:pos x="T2" y="T3"/>
              </a:cxn>
              <a:cxn ang="T8">
                <a:pos x="T4" y="T5"/>
              </a:cxn>
            </a:cxnLst>
            <a:rect l="T9" t="T10" r="T11" b="T12"/>
            <a:pathLst>
              <a:path w="21600" h="11619" fill="none" extrusionOk="0">
                <a:moveTo>
                  <a:pt x="18208" y="0"/>
                </a:moveTo>
                <a:cubicBezTo>
                  <a:pt x="20423" y="3470"/>
                  <a:pt x="21600" y="7501"/>
                  <a:pt x="21600" y="11619"/>
                </a:cubicBezTo>
              </a:path>
              <a:path w="21600" h="11619" stroke="0" extrusionOk="0">
                <a:moveTo>
                  <a:pt x="18208" y="0"/>
                </a:moveTo>
                <a:cubicBezTo>
                  <a:pt x="20423" y="3470"/>
                  <a:pt x="21600" y="7501"/>
                  <a:pt x="21600" y="11619"/>
                </a:cubicBezTo>
                <a:lnTo>
                  <a:pt x="0" y="11619"/>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49" name="Arc 5"/>
          <p:cNvSpPr>
            <a:spLocks/>
          </p:cNvSpPr>
          <p:nvPr userDrawn="1"/>
        </p:nvSpPr>
        <p:spPr bwMode="auto">
          <a:xfrm rot="183362" flipV="1">
            <a:off x="8252562" y="3885074"/>
            <a:ext cx="1851025" cy="1801813"/>
          </a:xfrm>
          <a:custGeom>
            <a:avLst/>
            <a:gdLst>
              <a:gd name="T0" fmla="*/ 0 w 17368"/>
              <a:gd name="T1" fmla="*/ 2147483647 h 21600"/>
              <a:gd name="T2" fmla="*/ 2147483647 w 17368"/>
              <a:gd name="T3" fmla="*/ 2147483647 h 21600"/>
              <a:gd name="T4" fmla="*/ 2147483647 w 17368"/>
              <a:gd name="T5" fmla="*/ 2147483647 h 21600"/>
              <a:gd name="T6" fmla="*/ 0 60000 65536"/>
              <a:gd name="T7" fmla="*/ 0 60000 65536"/>
              <a:gd name="T8" fmla="*/ 0 60000 65536"/>
              <a:gd name="T9" fmla="*/ 0 w 17368"/>
              <a:gd name="T10" fmla="*/ 0 h 21600"/>
              <a:gd name="T11" fmla="*/ 17368 w 17368"/>
              <a:gd name="T12" fmla="*/ 21600 h 21600"/>
            </a:gdLst>
            <a:ahLst/>
            <a:cxnLst>
              <a:cxn ang="T6">
                <a:pos x="T0" y="T1"/>
              </a:cxn>
              <a:cxn ang="T7">
                <a:pos x="T2" y="T3"/>
              </a:cxn>
              <a:cxn ang="T8">
                <a:pos x="T4" y="T5"/>
              </a:cxn>
            </a:cxnLst>
            <a:rect l="T9" t="T10" r="T11" b="T12"/>
            <a:pathLst>
              <a:path w="17368" h="21600" fill="none" extrusionOk="0">
                <a:moveTo>
                  <a:pt x="0" y="189"/>
                </a:moveTo>
                <a:cubicBezTo>
                  <a:pt x="945" y="63"/>
                  <a:pt x="1898" y="-1"/>
                  <a:pt x="2852" y="0"/>
                </a:cubicBezTo>
                <a:cubicBezTo>
                  <a:pt x="8218" y="0"/>
                  <a:pt x="13393" y="1998"/>
                  <a:pt x="17368" y="5604"/>
                </a:cubicBezTo>
              </a:path>
              <a:path w="17368" h="21600" stroke="0" extrusionOk="0">
                <a:moveTo>
                  <a:pt x="0" y="189"/>
                </a:moveTo>
                <a:cubicBezTo>
                  <a:pt x="945" y="63"/>
                  <a:pt x="1898" y="-1"/>
                  <a:pt x="2852" y="0"/>
                </a:cubicBezTo>
                <a:cubicBezTo>
                  <a:pt x="8218" y="0"/>
                  <a:pt x="13393" y="1998"/>
                  <a:pt x="17368" y="5604"/>
                </a:cubicBezTo>
                <a:lnTo>
                  <a:pt x="2852" y="21600"/>
                </a:lnTo>
                <a:close/>
              </a:path>
            </a:pathLst>
          </a:custGeom>
          <a:noFill/>
          <a:ln w="9525">
            <a:solidFill>
              <a:schemeClr val="tx2"/>
            </a:solidFill>
            <a:round/>
            <a:headEnd type="triangle" w="med" len="med"/>
            <a:tailEnd/>
          </a:ln>
        </p:spPr>
        <p:txBody>
          <a:bodyPr rot="10800000" wrap="none" lIns="36000" tIns="36000" rIns="36000" bIns="36000" anchor="ctr"/>
          <a:lstStyle/>
          <a:p>
            <a:pPr algn="ctr">
              <a:defRPr/>
            </a:pPr>
            <a:endParaRPr lang="en-US" sz="1400">
              <a:solidFill>
                <a:schemeClr val="bg1"/>
              </a:solidFill>
            </a:endParaRPr>
          </a:p>
        </p:txBody>
      </p:sp>
      <p:sp>
        <p:nvSpPr>
          <p:cNvPr id="54" name="Arc 6"/>
          <p:cNvSpPr>
            <a:spLocks/>
          </p:cNvSpPr>
          <p:nvPr userDrawn="1"/>
        </p:nvSpPr>
        <p:spPr bwMode="auto">
          <a:xfrm flipH="1" flipV="1">
            <a:off x="6312637" y="3726324"/>
            <a:ext cx="2244725" cy="1592263"/>
          </a:xfrm>
          <a:custGeom>
            <a:avLst/>
            <a:gdLst>
              <a:gd name="T0" fmla="*/ 2147483647 w 21027"/>
              <a:gd name="T1" fmla="*/ 0 h 19082"/>
              <a:gd name="T2" fmla="*/ 2147483647 w 21027"/>
              <a:gd name="T3" fmla="*/ 2147483647 h 19082"/>
              <a:gd name="T4" fmla="*/ 0 w 21027"/>
              <a:gd name="T5" fmla="*/ 2147483647 h 19082"/>
              <a:gd name="T6" fmla="*/ 0 60000 65536"/>
              <a:gd name="T7" fmla="*/ 0 60000 65536"/>
              <a:gd name="T8" fmla="*/ 0 60000 65536"/>
              <a:gd name="T9" fmla="*/ 0 w 21027"/>
              <a:gd name="T10" fmla="*/ 0 h 19082"/>
              <a:gd name="T11" fmla="*/ 21027 w 21027"/>
              <a:gd name="T12" fmla="*/ 19082 h 19082"/>
            </a:gdLst>
            <a:ahLst/>
            <a:cxnLst>
              <a:cxn ang="T6">
                <a:pos x="T0" y="T1"/>
              </a:cxn>
              <a:cxn ang="T7">
                <a:pos x="T2" y="T3"/>
              </a:cxn>
              <a:cxn ang="T8">
                <a:pos x="T4" y="T5"/>
              </a:cxn>
            </a:cxnLst>
            <a:rect l="T9" t="T10" r="T11" b="T12"/>
            <a:pathLst>
              <a:path w="21027" h="19082" fill="none" extrusionOk="0">
                <a:moveTo>
                  <a:pt x="10121" y="0"/>
                </a:moveTo>
                <a:cubicBezTo>
                  <a:pt x="15625" y="2919"/>
                  <a:pt x="19601" y="8073"/>
                  <a:pt x="21026" y="14139"/>
                </a:cubicBezTo>
              </a:path>
              <a:path w="21027" h="19082" stroke="0" extrusionOk="0">
                <a:moveTo>
                  <a:pt x="10121" y="0"/>
                </a:moveTo>
                <a:cubicBezTo>
                  <a:pt x="15625" y="2919"/>
                  <a:pt x="19601" y="8073"/>
                  <a:pt x="21026" y="14139"/>
                </a:cubicBezTo>
                <a:lnTo>
                  <a:pt x="0" y="19082"/>
                </a:lnTo>
                <a:close/>
              </a:path>
            </a:pathLst>
          </a:custGeom>
          <a:noFill/>
          <a:ln w="9525">
            <a:solidFill>
              <a:schemeClr val="tx2"/>
            </a:solidFill>
            <a:round/>
            <a:headEnd/>
            <a:tailEnd type="triangle" w="med" len="med"/>
          </a:ln>
        </p:spPr>
        <p:txBody>
          <a:bodyPr rot="10800000" wrap="none" lIns="36000" tIns="36000" rIns="36000" bIns="36000" anchor="ctr"/>
          <a:lstStyle/>
          <a:p>
            <a:pPr algn="ctr">
              <a:defRPr/>
            </a:pPr>
            <a:endParaRPr lang="en-US" sz="1400">
              <a:solidFill>
                <a:schemeClr val="bg1"/>
              </a:solidFill>
            </a:endParaRPr>
          </a:p>
        </p:txBody>
      </p:sp>
      <p:sp>
        <p:nvSpPr>
          <p:cNvPr id="55" name="Arc 7"/>
          <p:cNvSpPr>
            <a:spLocks/>
          </p:cNvSpPr>
          <p:nvPr userDrawn="1"/>
        </p:nvSpPr>
        <p:spPr bwMode="auto">
          <a:xfrm flipH="1">
            <a:off x="6279300" y="2067387"/>
            <a:ext cx="2278062" cy="1658937"/>
          </a:xfrm>
          <a:custGeom>
            <a:avLst/>
            <a:gdLst>
              <a:gd name="T0" fmla="*/ 2147483647 w 21347"/>
              <a:gd name="T1" fmla="*/ 0 h 19905"/>
              <a:gd name="T2" fmla="*/ 2147483647 w 21347"/>
              <a:gd name="T3" fmla="*/ 2147483647 h 19905"/>
              <a:gd name="T4" fmla="*/ 0 w 21347"/>
              <a:gd name="T5" fmla="*/ 2147483647 h 19905"/>
              <a:gd name="T6" fmla="*/ 0 60000 65536"/>
              <a:gd name="T7" fmla="*/ 0 60000 65536"/>
              <a:gd name="T8" fmla="*/ 0 60000 65536"/>
              <a:gd name="T9" fmla="*/ 0 w 21347"/>
              <a:gd name="T10" fmla="*/ 0 h 19905"/>
              <a:gd name="T11" fmla="*/ 21347 w 21347"/>
              <a:gd name="T12" fmla="*/ 19905 h 19905"/>
            </a:gdLst>
            <a:ahLst/>
            <a:cxnLst>
              <a:cxn ang="T6">
                <a:pos x="T0" y="T1"/>
              </a:cxn>
              <a:cxn ang="T7">
                <a:pos x="T2" y="T3"/>
              </a:cxn>
              <a:cxn ang="T8">
                <a:pos x="T4" y="T5"/>
              </a:cxn>
            </a:cxnLst>
            <a:rect l="T9" t="T10" r="T11" b="T12"/>
            <a:pathLst>
              <a:path w="21347" h="19905" fill="none" extrusionOk="0">
                <a:moveTo>
                  <a:pt x="8386" y="-1"/>
                </a:moveTo>
                <a:cubicBezTo>
                  <a:pt x="15295" y="2910"/>
                  <a:pt x="20201" y="9196"/>
                  <a:pt x="21346" y="16606"/>
                </a:cubicBezTo>
              </a:path>
              <a:path w="21347" h="19905" stroke="0" extrusionOk="0">
                <a:moveTo>
                  <a:pt x="8386" y="-1"/>
                </a:moveTo>
                <a:cubicBezTo>
                  <a:pt x="15295" y="2910"/>
                  <a:pt x="20201" y="9196"/>
                  <a:pt x="21346" y="16606"/>
                </a:cubicBezTo>
                <a:lnTo>
                  <a:pt x="0" y="19905"/>
                </a:lnTo>
                <a:close/>
              </a:path>
            </a:pathLst>
          </a:custGeom>
          <a:noFill/>
          <a:ln w="9525">
            <a:solidFill>
              <a:schemeClr val="tx2"/>
            </a:solidFill>
            <a:round/>
            <a:headEnd type="triangle" w="med" len="med"/>
            <a:tailEnd/>
          </a:ln>
        </p:spPr>
        <p:txBody>
          <a:bodyPr wrap="none" lIns="36000" tIns="36000" rIns="36000" bIns="36000" anchor="ctr"/>
          <a:lstStyle/>
          <a:p>
            <a:pPr algn="ctr">
              <a:defRPr/>
            </a:pPr>
            <a:endParaRPr lang="en-US" sz="1400">
              <a:solidFill>
                <a:schemeClr val="bg1"/>
              </a:solidFill>
            </a:endParaRPr>
          </a:p>
        </p:txBody>
      </p:sp>
      <p:sp>
        <p:nvSpPr>
          <p:cNvPr id="75" name="Oval 8"/>
          <p:cNvSpPr>
            <a:spLocks noChangeArrowheads="1"/>
          </p:cNvSpPr>
          <p:nvPr userDrawn="1"/>
        </p:nvSpPr>
        <p:spPr bwMode="auto">
          <a:xfrm>
            <a:off x="9048888" y="4635962"/>
            <a:ext cx="1743075" cy="1238250"/>
          </a:xfrm>
          <a:prstGeom prst="ellipse">
            <a:avLst/>
          </a:prstGeom>
          <a:solidFill>
            <a:schemeClr val="accent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6" name="Oval 9"/>
          <p:cNvSpPr>
            <a:spLocks noChangeArrowheads="1"/>
          </p:cNvSpPr>
          <p:nvPr userDrawn="1"/>
        </p:nvSpPr>
        <p:spPr bwMode="auto">
          <a:xfrm>
            <a:off x="5612550" y="2894474"/>
            <a:ext cx="1738312" cy="1235075"/>
          </a:xfrm>
          <a:prstGeom prst="ellipse">
            <a:avLst/>
          </a:prstGeom>
          <a:solidFill>
            <a:schemeClr val="accent5"/>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7" name="Oval 10"/>
          <p:cNvSpPr>
            <a:spLocks noChangeArrowheads="1"/>
          </p:cNvSpPr>
          <p:nvPr userDrawn="1"/>
        </p:nvSpPr>
        <p:spPr bwMode="auto">
          <a:xfrm>
            <a:off x="6571400" y="4635962"/>
            <a:ext cx="1738312" cy="1238250"/>
          </a:xfrm>
          <a:prstGeom prst="ellipse">
            <a:avLst/>
          </a:prstGeom>
          <a:solidFill>
            <a:schemeClr val="accent3"/>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8" name="Oval 11"/>
          <p:cNvSpPr>
            <a:spLocks noChangeArrowheads="1"/>
          </p:cNvSpPr>
          <p:nvPr userDrawn="1"/>
        </p:nvSpPr>
        <p:spPr bwMode="auto">
          <a:xfrm>
            <a:off x="9835300" y="2894474"/>
            <a:ext cx="1744662" cy="1235075"/>
          </a:xfrm>
          <a:prstGeom prst="ellipse">
            <a:avLst/>
          </a:prstGeom>
          <a:solidFill>
            <a:schemeClr val="accent1"/>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79" name="Oval 12"/>
          <p:cNvSpPr>
            <a:spLocks noChangeArrowheads="1"/>
          </p:cNvSpPr>
          <p:nvPr userDrawn="1"/>
        </p:nvSpPr>
        <p:spPr bwMode="auto">
          <a:xfrm>
            <a:off x="7685825" y="1472868"/>
            <a:ext cx="1739900" cy="1189037"/>
          </a:xfrm>
          <a:prstGeom prst="ellipse">
            <a:avLst/>
          </a:prstGeom>
          <a:solidFill>
            <a:schemeClr val="bg2"/>
          </a:solidFill>
          <a:ln w="12700" algn="ctr">
            <a:solidFill>
              <a:schemeClr val="bg1"/>
            </a:solidFill>
            <a:round/>
            <a:headEnd/>
            <a:tailEnd/>
          </a:ln>
          <a:effectLst>
            <a:outerShdw blurRad="50800" dist="76200" dir="5400000" algn="t" rotWithShape="0">
              <a:prstClr val="black">
                <a:alpha val="40000"/>
              </a:prstClr>
            </a:outerShdw>
          </a:effectLst>
        </p:spPr>
        <p:txBody>
          <a:bodyPr lIns="36000" tIns="36000" rIns="36000" bIns="36000" anchor="ctr"/>
          <a:lstStyle/>
          <a:p>
            <a:pPr algn="ctr">
              <a:lnSpc>
                <a:spcPct val="95000"/>
              </a:lnSpc>
              <a:defRPr/>
            </a:pPr>
            <a:r>
              <a:rPr lang="en-US" sz="1400" b="0">
                <a:solidFill>
                  <a:schemeClr val="bg1"/>
                </a:solidFill>
                <a:ea typeface="ＭＳ Ｐゴシック" pitchFamily="50" charset="-128"/>
              </a:rPr>
              <a:t>Text. White.</a:t>
            </a:r>
            <a:r>
              <a:rPr lang="en-US" sz="1400" b="0" baseline="0">
                <a:solidFill>
                  <a:schemeClr val="bg1"/>
                </a:solidFill>
                <a:ea typeface="ＭＳ Ｐゴシック" pitchFamily="50" charset="-128"/>
              </a:rPr>
              <a:t> 12PT</a:t>
            </a:r>
            <a:endParaRPr lang="en-US" sz="1400" b="0">
              <a:solidFill>
                <a:schemeClr val="bg1"/>
              </a:solidFill>
              <a:ea typeface="ＭＳ Ｐゴシック" pitchFamily="50" charset="-128"/>
            </a:endParaRPr>
          </a:p>
        </p:txBody>
      </p:sp>
      <p:sp>
        <p:nvSpPr>
          <p:cNvPr id="8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D0464C4C-CB11-44D7-B5A3-F7F8FBE48B9D}" type="datetime2">
              <a:rPr lang="en-US" sz="800" smtClean="0"/>
              <a:t>Sunday, July 17, 2022</a:t>
            </a:fld>
            <a:r>
              <a:rPr lang="en-GB" sz="800"/>
              <a:t>  |</a:t>
            </a:r>
            <a:endParaRPr lang="en-US"/>
          </a:p>
        </p:txBody>
      </p:sp>
      <p:sp>
        <p:nvSpPr>
          <p:cNvPr id="85" name="Text Placeholder 28"/>
          <p:cNvSpPr>
            <a:spLocks noGrp="1"/>
          </p:cNvSpPr>
          <p:nvPr>
            <p:ph type="body" sz="quarter" idx="15" hasCustomPrompt="1"/>
          </p:nvPr>
        </p:nvSpPr>
        <p:spPr>
          <a:xfrm>
            <a:off x="812799" y="1698045"/>
            <a:ext cx="4727325" cy="3905921"/>
          </a:xfrm>
          <a:prstGeom prst="rect">
            <a:avLst/>
          </a:prstGeom>
        </p:spPr>
        <p:txBody>
          <a:bodyPr/>
          <a:lstStyle>
            <a:lvl1pPr marL="0" indent="0">
              <a:buNone/>
              <a:defRPr sz="32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8068420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25. LLA Slide - Direct Reports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272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DIRECT REPORTS ORG CHART.</a:t>
            </a:r>
          </a:p>
        </p:txBody>
      </p:sp>
      <p:sp>
        <p:nvSpPr>
          <p:cNvPr id="125" name="Rectangle 124"/>
          <p:cNvSpPr/>
          <p:nvPr/>
        </p:nvSpPr>
        <p:spPr>
          <a:xfrm>
            <a:off x="5428481" y="1565718"/>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cxnSp>
        <p:nvCxnSpPr>
          <p:cNvPr id="81" name="Straight Connector 80"/>
          <p:cNvCxnSpPr/>
          <p:nvPr/>
        </p:nvCxnSpPr>
        <p:spPr>
          <a:xfrm>
            <a:off x="1088796" y="3433191"/>
            <a:ext cx="8490978"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9579775" y="3433191"/>
            <a:ext cx="1481343" cy="0"/>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1" name="Straight Connector 120"/>
          <p:cNvCxnSpPr/>
          <p:nvPr/>
        </p:nvCxnSpPr>
        <p:spPr>
          <a:xfrm>
            <a:off x="9582047"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11061118" y="3433190"/>
            <a:ext cx="0" cy="238678"/>
          </a:xfrm>
          <a:prstGeom prst="line">
            <a:avLst/>
          </a:prstGeom>
          <a:ln w="6350">
            <a:solidFill>
              <a:schemeClr val="tx2"/>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530244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a:off x="3925703"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2513310"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p:nvCxnSpPr>
        <p:spPr>
          <a:xfrm>
            <a:off x="1088796"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1"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42"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43"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E5BA086D-2388-41E5-A336-92EE6030DC61}" type="datetime2">
              <a:rPr lang="en-US" sz="800" smtClean="0"/>
              <a:t>Sunday, July 17, 2022</a:t>
            </a:fld>
            <a:r>
              <a:rPr lang="en-GB" sz="800"/>
              <a:t>  |</a:t>
            </a:r>
            <a:endParaRPr lang="en-US"/>
          </a:p>
        </p:txBody>
      </p:sp>
      <p:sp>
        <p:nvSpPr>
          <p:cNvPr id="5" name="Picture Placeholder 4"/>
          <p:cNvSpPr>
            <a:spLocks noGrp="1"/>
          </p:cNvSpPr>
          <p:nvPr>
            <p:ph type="pic" sz="quarter" idx="10" hasCustomPrompt="1"/>
          </p:nvPr>
        </p:nvSpPr>
        <p:spPr>
          <a:xfrm>
            <a:off x="5519781" y="1674479"/>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8" name="Text Placeholder 7"/>
          <p:cNvSpPr>
            <a:spLocks noGrp="1"/>
          </p:cNvSpPr>
          <p:nvPr>
            <p:ph type="body" sz="quarter" idx="11" hasCustomPrompt="1"/>
          </p:nvPr>
        </p:nvSpPr>
        <p:spPr>
          <a:xfrm>
            <a:off x="5519781" y="2691366"/>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44" name="Text Placeholder 7"/>
          <p:cNvSpPr>
            <a:spLocks noGrp="1"/>
          </p:cNvSpPr>
          <p:nvPr>
            <p:ph type="body" sz="quarter" idx="12" hasCustomPrompt="1"/>
          </p:nvPr>
        </p:nvSpPr>
        <p:spPr>
          <a:xfrm>
            <a:off x="5519781" y="2856097"/>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cxnSp>
        <p:nvCxnSpPr>
          <p:cNvPr id="145" name="Straight Connector 144"/>
          <p:cNvCxnSpPr/>
          <p:nvPr/>
        </p:nvCxnSpPr>
        <p:spPr>
          <a:xfrm>
            <a:off x="6057406" y="3086187"/>
            <a:ext cx="0" cy="343134"/>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6" name="Straight Connector 145"/>
          <p:cNvCxnSpPr/>
          <p:nvPr/>
        </p:nvCxnSpPr>
        <p:spPr>
          <a:xfrm>
            <a:off x="6760791"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8153492" y="3433190"/>
            <a:ext cx="0" cy="23867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1" name="Rectangle 150"/>
          <p:cNvSpPr/>
          <p:nvPr userDrawn="1"/>
        </p:nvSpPr>
        <p:spPr>
          <a:xfrm>
            <a:off x="432838"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2" name="Picture Placeholder 4"/>
          <p:cNvSpPr>
            <a:spLocks noGrp="1"/>
          </p:cNvSpPr>
          <p:nvPr>
            <p:ph type="pic" sz="quarter" idx="13" hasCustomPrompt="1"/>
          </p:nvPr>
        </p:nvSpPr>
        <p:spPr>
          <a:xfrm>
            <a:off x="524138"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3" name="Text Placeholder 7"/>
          <p:cNvSpPr>
            <a:spLocks noGrp="1"/>
          </p:cNvSpPr>
          <p:nvPr>
            <p:ph type="body" sz="quarter" idx="14" hasCustomPrompt="1"/>
          </p:nvPr>
        </p:nvSpPr>
        <p:spPr>
          <a:xfrm>
            <a:off x="524138"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4" name="Text Placeholder 7"/>
          <p:cNvSpPr>
            <a:spLocks noGrp="1"/>
          </p:cNvSpPr>
          <p:nvPr>
            <p:ph type="body" sz="quarter" idx="15" hasCustomPrompt="1"/>
          </p:nvPr>
        </p:nvSpPr>
        <p:spPr>
          <a:xfrm>
            <a:off x="524138"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5" name="Rectangle 154"/>
          <p:cNvSpPr/>
          <p:nvPr userDrawn="1"/>
        </p:nvSpPr>
        <p:spPr>
          <a:xfrm>
            <a:off x="185905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56" name="Picture Placeholder 4"/>
          <p:cNvSpPr>
            <a:spLocks noGrp="1"/>
          </p:cNvSpPr>
          <p:nvPr>
            <p:ph type="pic" sz="quarter" idx="16" hasCustomPrompt="1"/>
          </p:nvPr>
        </p:nvSpPr>
        <p:spPr>
          <a:xfrm>
            <a:off x="195035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57" name="Text Placeholder 7"/>
          <p:cNvSpPr>
            <a:spLocks noGrp="1"/>
          </p:cNvSpPr>
          <p:nvPr>
            <p:ph type="body" sz="quarter" idx="17" hasCustomPrompt="1"/>
          </p:nvPr>
        </p:nvSpPr>
        <p:spPr>
          <a:xfrm>
            <a:off x="195035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58" name="Text Placeholder 7"/>
          <p:cNvSpPr>
            <a:spLocks noGrp="1"/>
          </p:cNvSpPr>
          <p:nvPr>
            <p:ph type="body" sz="quarter" idx="18" hasCustomPrompt="1"/>
          </p:nvPr>
        </p:nvSpPr>
        <p:spPr>
          <a:xfrm>
            <a:off x="195035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59" name="Rectangle 158"/>
          <p:cNvSpPr/>
          <p:nvPr userDrawn="1"/>
        </p:nvSpPr>
        <p:spPr>
          <a:xfrm>
            <a:off x="3272950"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0" name="Picture Placeholder 4"/>
          <p:cNvSpPr>
            <a:spLocks noGrp="1"/>
          </p:cNvSpPr>
          <p:nvPr>
            <p:ph type="pic" sz="quarter" idx="19" hasCustomPrompt="1"/>
          </p:nvPr>
        </p:nvSpPr>
        <p:spPr>
          <a:xfrm>
            <a:off x="3364250"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1" name="Text Placeholder 7"/>
          <p:cNvSpPr>
            <a:spLocks noGrp="1"/>
          </p:cNvSpPr>
          <p:nvPr>
            <p:ph type="body" sz="quarter" idx="20" hasCustomPrompt="1"/>
          </p:nvPr>
        </p:nvSpPr>
        <p:spPr>
          <a:xfrm>
            <a:off x="3364250"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2" name="Text Placeholder 7"/>
          <p:cNvSpPr>
            <a:spLocks noGrp="1"/>
          </p:cNvSpPr>
          <p:nvPr>
            <p:ph type="body" sz="quarter" idx="21" hasCustomPrompt="1"/>
          </p:nvPr>
        </p:nvSpPr>
        <p:spPr>
          <a:xfrm>
            <a:off x="3364250"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3" name="Rectangle 162"/>
          <p:cNvSpPr/>
          <p:nvPr userDrawn="1"/>
        </p:nvSpPr>
        <p:spPr>
          <a:xfrm>
            <a:off x="4646564"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4" name="Picture Placeholder 4"/>
          <p:cNvSpPr>
            <a:spLocks noGrp="1"/>
          </p:cNvSpPr>
          <p:nvPr>
            <p:ph type="pic" sz="quarter" idx="22" hasCustomPrompt="1"/>
          </p:nvPr>
        </p:nvSpPr>
        <p:spPr>
          <a:xfrm>
            <a:off x="4737864"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5" name="Text Placeholder 7"/>
          <p:cNvSpPr>
            <a:spLocks noGrp="1"/>
          </p:cNvSpPr>
          <p:nvPr>
            <p:ph type="body" sz="quarter" idx="23" hasCustomPrompt="1"/>
          </p:nvPr>
        </p:nvSpPr>
        <p:spPr>
          <a:xfrm>
            <a:off x="4737864"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66" name="Text Placeholder 7"/>
          <p:cNvSpPr>
            <a:spLocks noGrp="1"/>
          </p:cNvSpPr>
          <p:nvPr>
            <p:ph type="body" sz="quarter" idx="24" hasCustomPrompt="1"/>
          </p:nvPr>
        </p:nvSpPr>
        <p:spPr>
          <a:xfrm>
            <a:off x="4737864"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67" name="Rectangle 166"/>
          <p:cNvSpPr/>
          <p:nvPr userDrawn="1"/>
        </p:nvSpPr>
        <p:spPr>
          <a:xfrm>
            <a:off x="6100746"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68" name="Picture Placeholder 4"/>
          <p:cNvSpPr>
            <a:spLocks noGrp="1"/>
          </p:cNvSpPr>
          <p:nvPr>
            <p:ph type="pic" sz="quarter" idx="25" hasCustomPrompt="1"/>
          </p:nvPr>
        </p:nvSpPr>
        <p:spPr>
          <a:xfrm>
            <a:off x="6192046"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69" name="Text Placeholder 7"/>
          <p:cNvSpPr>
            <a:spLocks noGrp="1"/>
          </p:cNvSpPr>
          <p:nvPr>
            <p:ph type="body" sz="quarter" idx="26" hasCustomPrompt="1"/>
          </p:nvPr>
        </p:nvSpPr>
        <p:spPr>
          <a:xfrm>
            <a:off x="6192046"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0" name="Text Placeholder 7"/>
          <p:cNvSpPr>
            <a:spLocks noGrp="1"/>
          </p:cNvSpPr>
          <p:nvPr>
            <p:ph type="body" sz="quarter" idx="27" hasCustomPrompt="1"/>
          </p:nvPr>
        </p:nvSpPr>
        <p:spPr>
          <a:xfrm>
            <a:off x="6192046"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1" name="Rectangle 170"/>
          <p:cNvSpPr/>
          <p:nvPr userDrawn="1"/>
        </p:nvSpPr>
        <p:spPr>
          <a:xfrm>
            <a:off x="7498529"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2" name="Picture Placeholder 4"/>
          <p:cNvSpPr>
            <a:spLocks noGrp="1"/>
          </p:cNvSpPr>
          <p:nvPr>
            <p:ph type="pic" sz="quarter" idx="28" hasCustomPrompt="1"/>
          </p:nvPr>
        </p:nvSpPr>
        <p:spPr>
          <a:xfrm>
            <a:off x="7589829"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3" name="Text Placeholder 7"/>
          <p:cNvSpPr>
            <a:spLocks noGrp="1"/>
          </p:cNvSpPr>
          <p:nvPr>
            <p:ph type="body" sz="quarter" idx="29" hasCustomPrompt="1"/>
          </p:nvPr>
        </p:nvSpPr>
        <p:spPr>
          <a:xfrm>
            <a:off x="7589829"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4" name="Text Placeholder 7"/>
          <p:cNvSpPr>
            <a:spLocks noGrp="1"/>
          </p:cNvSpPr>
          <p:nvPr>
            <p:ph type="body" sz="quarter" idx="30" hasCustomPrompt="1"/>
          </p:nvPr>
        </p:nvSpPr>
        <p:spPr>
          <a:xfrm>
            <a:off x="7589829"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5" name="Rectangle 174"/>
          <p:cNvSpPr/>
          <p:nvPr userDrawn="1"/>
        </p:nvSpPr>
        <p:spPr>
          <a:xfrm>
            <a:off x="8927502"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76" name="Picture Placeholder 4"/>
          <p:cNvSpPr>
            <a:spLocks noGrp="1"/>
          </p:cNvSpPr>
          <p:nvPr>
            <p:ph type="pic" sz="quarter" idx="31" hasCustomPrompt="1"/>
          </p:nvPr>
        </p:nvSpPr>
        <p:spPr>
          <a:xfrm>
            <a:off x="9018802"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77" name="Text Placeholder 7"/>
          <p:cNvSpPr>
            <a:spLocks noGrp="1"/>
          </p:cNvSpPr>
          <p:nvPr>
            <p:ph type="body" sz="quarter" idx="32" hasCustomPrompt="1"/>
          </p:nvPr>
        </p:nvSpPr>
        <p:spPr>
          <a:xfrm>
            <a:off x="9018802"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78" name="Text Placeholder 7"/>
          <p:cNvSpPr>
            <a:spLocks noGrp="1"/>
          </p:cNvSpPr>
          <p:nvPr>
            <p:ph type="body" sz="quarter" idx="33" hasCustomPrompt="1"/>
          </p:nvPr>
        </p:nvSpPr>
        <p:spPr>
          <a:xfrm>
            <a:off x="9018802"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179" name="Rectangle 178"/>
          <p:cNvSpPr/>
          <p:nvPr userDrawn="1"/>
        </p:nvSpPr>
        <p:spPr>
          <a:xfrm>
            <a:off x="10405847" y="3708911"/>
            <a:ext cx="1314779" cy="1500607"/>
          </a:xfrm>
          <a:prstGeom prst="rect">
            <a:avLst/>
          </a:prstGeom>
          <a:gradFill>
            <a:gsLst>
              <a:gs pos="100000">
                <a:schemeClr val="bg1">
                  <a:lumMod val="85000"/>
                </a:schemeClr>
              </a:gs>
              <a:gs pos="50000">
                <a:schemeClr val="bg1">
                  <a:lumMod val="95000"/>
                </a:schemeClr>
              </a:gs>
              <a:gs pos="0">
                <a:schemeClr val="bg1"/>
              </a:gs>
            </a:gsLst>
            <a:lin ang="2700000" scaled="1"/>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600"/>
          </a:p>
        </p:txBody>
      </p:sp>
      <p:sp>
        <p:nvSpPr>
          <p:cNvPr id="180" name="Picture Placeholder 4"/>
          <p:cNvSpPr>
            <a:spLocks noGrp="1"/>
          </p:cNvSpPr>
          <p:nvPr>
            <p:ph type="pic" sz="quarter" idx="34" hasCustomPrompt="1"/>
          </p:nvPr>
        </p:nvSpPr>
        <p:spPr>
          <a:xfrm>
            <a:off x="10497147" y="3817672"/>
            <a:ext cx="1129316" cy="978478"/>
          </a:xfrm>
          <a:prstGeom prst="rect">
            <a:avLst/>
          </a:prstGeom>
          <a:solidFill>
            <a:schemeClr val="bg1"/>
          </a:solidFill>
        </p:spPr>
        <p:txBody>
          <a:bodyPr anchor="ctr"/>
          <a:lstStyle>
            <a:lvl1pPr marL="0" indent="0" algn="ctr">
              <a:buNone/>
              <a:defRPr sz="1200">
                <a:solidFill>
                  <a:schemeClr val="accent6"/>
                </a:solidFill>
              </a:defRPr>
            </a:lvl1pPr>
          </a:lstStyle>
          <a:p>
            <a:r>
              <a:rPr lang="en-US"/>
              <a:t>PICTURE</a:t>
            </a:r>
          </a:p>
        </p:txBody>
      </p:sp>
      <p:sp>
        <p:nvSpPr>
          <p:cNvPr id="181" name="Text Placeholder 7"/>
          <p:cNvSpPr>
            <a:spLocks noGrp="1"/>
          </p:cNvSpPr>
          <p:nvPr>
            <p:ph type="body" sz="quarter" idx="35" hasCustomPrompt="1"/>
          </p:nvPr>
        </p:nvSpPr>
        <p:spPr>
          <a:xfrm>
            <a:off x="10497147" y="4834559"/>
            <a:ext cx="1129316" cy="146021"/>
          </a:xfrm>
          <a:prstGeom prst="rect">
            <a:avLst/>
          </a:prstGeom>
        </p:spPr>
        <p:txBody>
          <a:bodyPr lIns="0" tIns="0" rIns="0" bIns="0" anchor="ctr"/>
          <a:lstStyle>
            <a:lvl1pPr marL="0" indent="0" algn="ctr">
              <a:buNone/>
              <a:defRPr sz="800"/>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a:t>
            </a:r>
          </a:p>
        </p:txBody>
      </p:sp>
      <p:sp>
        <p:nvSpPr>
          <p:cNvPr id="182" name="Text Placeholder 7"/>
          <p:cNvSpPr>
            <a:spLocks noGrp="1"/>
          </p:cNvSpPr>
          <p:nvPr>
            <p:ph type="body" sz="quarter" idx="36" hasCustomPrompt="1"/>
          </p:nvPr>
        </p:nvSpPr>
        <p:spPr>
          <a:xfrm>
            <a:off x="10497147" y="4999290"/>
            <a:ext cx="1129316" cy="81945"/>
          </a:xfrm>
          <a:prstGeom prst="rect">
            <a:avLst/>
          </a:prstGeom>
        </p:spPr>
        <p:txBody>
          <a:bodyPr lIns="0" tIns="0" rIns="0" bIns="0"/>
          <a:lstStyle>
            <a:lvl1pPr marL="0" indent="0" algn="ctr">
              <a:buNone/>
              <a:defRPr sz="600">
                <a:solidFill>
                  <a:schemeClr val="tx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a:t>
            </a:r>
          </a:p>
        </p:txBody>
      </p:sp>
      <p:sp>
        <p:nvSpPr>
          <p:cNvPr id="55"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686866078"/>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26. LLA Slide - Company/Function Org Char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6047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MPANY / FUNCTION ORG CHART.</a:t>
            </a:r>
          </a:p>
        </p:txBody>
      </p:sp>
      <p:cxnSp>
        <p:nvCxnSpPr>
          <p:cNvPr id="143" name="Straight Connector 142"/>
          <p:cNvCxnSpPr>
            <a:stCxn id="210" idx="2"/>
          </p:cNvCxnSpPr>
          <p:nvPr userDrawn="1"/>
        </p:nvCxnSpPr>
        <p:spPr>
          <a:xfrm>
            <a:off x="5367448" y="2111551"/>
            <a:ext cx="0" cy="568149"/>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4" name="Straight Connector 143"/>
          <p:cNvCxnSpPr/>
          <p:nvPr userDrawn="1"/>
        </p:nvCxnSpPr>
        <p:spPr>
          <a:xfrm flipH="1">
            <a:off x="2979125" y="2530165"/>
            <a:ext cx="485527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5" name="Rounded Rectangle 144"/>
          <p:cNvSpPr/>
          <p:nvPr userDrawn="1"/>
        </p:nvSpPr>
        <p:spPr>
          <a:xfrm>
            <a:off x="2112960"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46" name="Straight Connector 145"/>
          <p:cNvCxnSpPr/>
          <p:nvPr userDrawn="1"/>
        </p:nvCxnSpPr>
        <p:spPr>
          <a:xfrm>
            <a:off x="2977056" y="2530165"/>
            <a:ext cx="0" cy="149535"/>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47" name="Rounded Rectangle 146"/>
          <p:cNvSpPr/>
          <p:nvPr userDrawn="1"/>
        </p:nvSpPr>
        <p:spPr>
          <a:xfrm>
            <a:off x="1534225"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8" name="Rounded Rectangle 147"/>
          <p:cNvSpPr/>
          <p:nvPr userDrawn="1"/>
        </p:nvSpPr>
        <p:spPr>
          <a:xfrm>
            <a:off x="1534225"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49" name="Rounded Rectangle 148"/>
          <p:cNvSpPr/>
          <p:nvPr userDrawn="1"/>
        </p:nvSpPr>
        <p:spPr>
          <a:xfrm>
            <a:off x="1534225"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0" name="Rounded Rectangle 149"/>
          <p:cNvSpPr/>
          <p:nvPr userDrawn="1"/>
        </p:nvSpPr>
        <p:spPr>
          <a:xfrm>
            <a:off x="1534225"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51" name="Straight Connector 150"/>
          <p:cNvCxnSpPr/>
          <p:nvPr userDrawn="1"/>
        </p:nvCxnSpPr>
        <p:spPr>
          <a:xfrm>
            <a:off x="3518616"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p:nvPr userDrawn="1"/>
        </p:nvCxnSpPr>
        <p:spPr>
          <a:xfrm flipH="1">
            <a:off x="3331590" y="43503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6" name="Straight Connector 155"/>
          <p:cNvCxnSpPr/>
          <p:nvPr userDrawn="1"/>
        </p:nvCxnSpPr>
        <p:spPr>
          <a:xfrm>
            <a:off x="3697136" y="3281832"/>
            <a:ext cx="0" cy="2350552"/>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7" name="Straight Connector 156"/>
          <p:cNvCxnSpPr/>
          <p:nvPr userDrawn="1"/>
        </p:nvCxnSpPr>
        <p:spPr>
          <a:xfrm rot="-5400000">
            <a:off x="3796653" y="5536653"/>
            <a:ext cx="0" cy="201706"/>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58" name="Rounded Rectangle 157"/>
          <p:cNvSpPr/>
          <p:nvPr userDrawn="1"/>
        </p:nvSpPr>
        <p:spPr>
          <a:xfrm>
            <a:off x="4486666" y="2707622"/>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59" name="Rounded Rectangle 158"/>
          <p:cNvSpPr/>
          <p:nvPr userDrawn="1"/>
        </p:nvSpPr>
        <p:spPr>
          <a:xfrm>
            <a:off x="3944993"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0" name="Rounded Rectangle 159"/>
          <p:cNvSpPr/>
          <p:nvPr userDrawn="1"/>
        </p:nvSpPr>
        <p:spPr>
          <a:xfrm>
            <a:off x="3944993" y="4108645"/>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1" name="Rounded Rectangle 160"/>
          <p:cNvSpPr/>
          <p:nvPr userDrawn="1"/>
        </p:nvSpPr>
        <p:spPr>
          <a:xfrm>
            <a:off x="3944993" y="4740022"/>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62" name="Rounded Rectangle 161"/>
          <p:cNvSpPr/>
          <p:nvPr userDrawn="1"/>
        </p:nvSpPr>
        <p:spPr>
          <a:xfrm>
            <a:off x="3944993" y="5376518"/>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63" name="Straight Connector 162"/>
          <p:cNvCxnSpPr/>
          <p:nvPr userDrawn="1"/>
        </p:nvCxnSpPr>
        <p:spPr>
          <a:xfrm>
            <a:off x="5929384" y="3281832"/>
            <a:ext cx="0" cy="2350552"/>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163"/>
          <p:cNvCxnSpPr/>
          <p:nvPr userDrawn="1"/>
        </p:nvCxnSpPr>
        <p:spPr>
          <a:xfrm flipH="1">
            <a:off x="5750905" y="3705221"/>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4" name="Rounded Rectangle 173"/>
          <p:cNvSpPr/>
          <p:nvPr userDrawn="1"/>
        </p:nvSpPr>
        <p:spPr>
          <a:xfrm>
            <a:off x="6849249" y="2723664"/>
            <a:ext cx="1761564" cy="505654"/>
          </a:xfrm>
          <a:prstGeom prst="roundRect">
            <a:avLst>
              <a:gd name="adj" fmla="val 0"/>
            </a:avLst>
          </a:prstGeom>
          <a:solidFill>
            <a:schemeClr val="tx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5" name="Rounded Rectangle 174"/>
          <p:cNvSpPr/>
          <p:nvPr userDrawn="1"/>
        </p:nvSpPr>
        <p:spPr>
          <a:xfrm>
            <a:off x="6307576" y="3455452"/>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76" name="Rounded Rectangle 175"/>
          <p:cNvSpPr/>
          <p:nvPr userDrawn="1"/>
        </p:nvSpPr>
        <p:spPr>
          <a:xfrm>
            <a:off x="6307576" y="4108645"/>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77" name="Straight Connector 176"/>
          <p:cNvCxnSpPr/>
          <p:nvPr userDrawn="1"/>
        </p:nvCxnSpPr>
        <p:spPr>
          <a:xfrm>
            <a:off x="8291967" y="3281832"/>
            <a:ext cx="0" cy="1068546"/>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80" name="Rounded Rectangle 179"/>
          <p:cNvSpPr/>
          <p:nvPr userDrawn="1"/>
        </p:nvSpPr>
        <p:spPr>
          <a:xfrm>
            <a:off x="9018041" y="3445559"/>
            <a:ext cx="1761564" cy="505654"/>
          </a:xfrm>
          <a:prstGeom prst="roundRect">
            <a:avLst>
              <a:gd name="adj" fmla="val 0"/>
            </a:avLst>
          </a:prstGeom>
          <a:solidFill>
            <a:schemeClr val="tx1">
              <a:lumMod val="60000"/>
              <a:lumOff val="40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1" name="Rounded Rectangle 180"/>
          <p:cNvSpPr/>
          <p:nvPr userDrawn="1"/>
        </p:nvSpPr>
        <p:spPr>
          <a:xfrm>
            <a:off x="8476368" y="417734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2" name="Rounded Rectangle 181"/>
          <p:cNvSpPr/>
          <p:nvPr userDrawn="1"/>
        </p:nvSpPr>
        <p:spPr>
          <a:xfrm>
            <a:off x="8476368" y="4830540"/>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183" name="Rounded Rectangle 182"/>
          <p:cNvSpPr/>
          <p:nvPr userDrawn="1"/>
        </p:nvSpPr>
        <p:spPr>
          <a:xfrm>
            <a:off x="8476368" y="5461917"/>
            <a:ext cx="1761564" cy="505654"/>
          </a:xfrm>
          <a:prstGeom prst="roundRect">
            <a:avLst>
              <a:gd name="adj" fmla="val 0"/>
            </a:avLst>
          </a:prstGeom>
          <a:solidFill>
            <a:schemeClr val="bg1">
              <a:lumMod val="75000"/>
            </a:schemeClr>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cxnSp>
        <p:nvCxnSpPr>
          <p:cNvPr id="185" name="Straight Connector 184"/>
          <p:cNvCxnSpPr/>
          <p:nvPr userDrawn="1"/>
        </p:nvCxnSpPr>
        <p:spPr>
          <a:xfrm>
            <a:off x="10460759" y="4003727"/>
            <a:ext cx="0" cy="1715858"/>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userDrawn="1"/>
        </p:nvCxnSpPr>
        <p:spPr>
          <a:xfrm flipH="1">
            <a:off x="10291072" y="4427116"/>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9" name="Straight Connector 198"/>
          <p:cNvCxnSpPr/>
          <p:nvPr userDrawn="1"/>
        </p:nvCxnSpPr>
        <p:spPr>
          <a:xfrm>
            <a:off x="7834402" y="2530165"/>
            <a:ext cx="0" cy="177457"/>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0" name="Straight Connector 199"/>
          <p:cNvCxnSpPr/>
          <p:nvPr userDrawn="1"/>
        </p:nvCxnSpPr>
        <p:spPr>
          <a:xfrm flipH="1">
            <a:off x="6322236" y="1853247"/>
            <a:ext cx="3545494" cy="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1" name="Straight Connector 200"/>
          <p:cNvCxnSpPr/>
          <p:nvPr userDrawn="1"/>
        </p:nvCxnSpPr>
        <p:spPr>
          <a:xfrm flipV="1">
            <a:off x="9867730" y="1852539"/>
            <a:ext cx="0" cy="1560250"/>
          </a:xfrm>
          <a:prstGeom prst="line">
            <a:avLst/>
          </a:prstGeom>
          <a:ln w="6350">
            <a:solidFill>
              <a:schemeClr val="tx2"/>
            </a:solidFill>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6" name="Straight Connector 205"/>
          <p:cNvCxnSpPr/>
          <p:nvPr userDrawn="1"/>
        </p:nvCxnSpPr>
        <p:spPr>
          <a:xfrm flipH="1">
            <a:off x="8104941" y="3725455"/>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0" name="Rounded Rectangle 209"/>
          <p:cNvSpPr/>
          <p:nvPr userDrawn="1"/>
        </p:nvSpPr>
        <p:spPr>
          <a:xfrm>
            <a:off x="4486666" y="1605897"/>
            <a:ext cx="1761564" cy="505654"/>
          </a:xfrm>
          <a:prstGeom prst="roundRect">
            <a:avLst>
              <a:gd name="adj" fmla="val 0"/>
            </a:avLst>
          </a:prstGeom>
          <a:solidFill>
            <a:schemeClr val="tx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900">
              <a:solidFill>
                <a:schemeClr val="bg1"/>
              </a:solidFill>
            </a:endParaRPr>
          </a:p>
        </p:txBody>
      </p:sp>
      <p:sp>
        <p:nvSpPr>
          <p:cNvPr id="208" name="Text Placeholder 7"/>
          <p:cNvSpPr>
            <a:spLocks noGrp="1"/>
          </p:cNvSpPr>
          <p:nvPr>
            <p:ph type="body" sz="quarter" idx="11" hasCustomPrompt="1"/>
          </p:nvPr>
        </p:nvSpPr>
        <p:spPr>
          <a:xfrm>
            <a:off x="4610101" y="1738623"/>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09" name="Text Placeholder 7"/>
          <p:cNvSpPr>
            <a:spLocks noGrp="1"/>
          </p:cNvSpPr>
          <p:nvPr>
            <p:ph type="body" sz="quarter" idx="12" hasCustomPrompt="1"/>
          </p:nvPr>
        </p:nvSpPr>
        <p:spPr>
          <a:xfrm>
            <a:off x="4610101" y="1903354"/>
            <a:ext cx="1514474" cy="81945"/>
          </a:xfrm>
          <a:prstGeom prst="rect">
            <a:avLst/>
          </a:prstGeom>
        </p:spPr>
        <p:txBody>
          <a:bodyPr lIns="0" tIns="0" rIns="0" bIns="0"/>
          <a:lstStyle>
            <a:lvl1pPr marL="0" indent="0" algn="ctr">
              <a:buNone/>
              <a:defRPr sz="6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1" name="Text Placeholder 7"/>
          <p:cNvSpPr>
            <a:spLocks noGrp="1"/>
          </p:cNvSpPr>
          <p:nvPr>
            <p:ph type="body" sz="quarter" idx="13" hasCustomPrompt="1"/>
          </p:nvPr>
        </p:nvSpPr>
        <p:spPr>
          <a:xfrm>
            <a:off x="4604650"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2" name="Text Placeholder 7"/>
          <p:cNvSpPr>
            <a:spLocks noGrp="1"/>
          </p:cNvSpPr>
          <p:nvPr>
            <p:ph type="body" sz="quarter" idx="14" hasCustomPrompt="1"/>
          </p:nvPr>
        </p:nvSpPr>
        <p:spPr>
          <a:xfrm>
            <a:off x="4604650"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3" name="Text Placeholder 7"/>
          <p:cNvSpPr>
            <a:spLocks noGrp="1"/>
          </p:cNvSpPr>
          <p:nvPr>
            <p:ph type="body" sz="quarter" idx="15" hasCustomPrompt="1"/>
          </p:nvPr>
        </p:nvSpPr>
        <p:spPr>
          <a:xfrm>
            <a:off x="6976375" y="2841096"/>
            <a:ext cx="1514474" cy="146021"/>
          </a:xfrm>
          <a:prstGeom prst="rect">
            <a:avLst/>
          </a:prstGeom>
        </p:spPr>
        <p:txBody>
          <a:bodyPr lIns="0" tIns="0" rIns="0" bIns="0" anchor="ctr"/>
          <a:lstStyle>
            <a:lvl1pPr marL="0" indent="0" algn="ctr">
              <a:buNone/>
              <a:defRPr sz="8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4" name="Text Placeholder 7"/>
          <p:cNvSpPr>
            <a:spLocks noGrp="1"/>
          </p:cNvSpPr>
          <p:nvPr>
            <p:ph type="body" sz="quarter" idx="16" hasCustomPrompt="1"/>
          </p:nvPr>
        </p:nvSpPr>
        <p:spPr>
          <a:xfrm>
            <a:off x="69763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15" name="Text Placeholder 7"/>
          <p:cNvSpPr>
            <a:spLocks noGrp="1"/>
          </p:cNvSpPr>
          <p:nvPr>
            <p:ph type="body" sz="quarter" idx="17" hasCustomPrompt="1"/>
          </p:nvPr>
        </p:nvSpPr>
        <p:spPr>
          <a:xfrm>
            <a:off x="2239275" y="2841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6" name="Text Placeholder 7"/>
          <p:cNvSpPr>
            <a:spLocks noGrp="1"/>
          </p:cNvSpPr>
          <p:nvPr>
            <p:ph type="body" sz="quarter" idx="18" hasCustomPrompt="1"/>
          </p:nvPr>
        </p:nvSpPr>
        <p:spPr>
          <a:xfrm>
            <a:off x="2239275" y="3005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17" name="Straight Connector 216"/>
          <p:cNvCxnSpPr/>
          <p:nvPr userDrawn="1"/>
        </p:nvCxnSpPr>
        <p:spPr>
          <a:xfrm flipH="1">
            <a:off x="8104941" y="4350930"/>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8" name="Text Placeholder 7"/>
          <p:cNvSpPr>
            <a:spLocks noGrp="1"/>
          </p:cNvSpPr>
          <p:nvPr>
            <p:ph type="body" sz="quarter" idx="19" hasCustomPrompt="1"/>
          </p:nvPr>
        </p:nvSpPr>
        <p:spPr>
          <a:xfrm>
            <a:off x="16614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19" name="Text Placeholder 7"/>
          <p:cNvSpPr>
            <a:spLocks noGrp="1"/>
          </p:cNvSpPr>
          <p:nvPr>
            <p:ph type="body" sz="quarter" idx="20" hasCustomPrompt="1"/>
          </p:nvPr>
        </p:nvSpPr>
        <p:spPr>
          <a:xfrm>
            <a:off x="16614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20" name="Straight Connector 219"/>
          <p:cNvCxnSpPr/>
          <p:nvPr userDrawn="1"/>
        </p:nvCxnSpPr>
        <p:spPr>
          <a:xfrm flipH="1">
            <a:off x="3331590" y="373442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1" name="Straight Connector 220"/>
          <p:cNvCxnSpPr/>
          <p:nvPr userDrawn="1"/>
        </p:nvCxnSpPr>
        <p:spPr>
          <a:xfrm flipH="1">
            <a:off x="3331590" y="5007603"/>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2" name="Straight Connector 221"/>
          <p:cNvCxnSpPr/>
          <p:nvPr userDrawn="1"/>
        </p:nvCxnSpPr>
        <p:spPr>
          <a:xfrm flipH="1">
            <a:off x="3331590" y="5633078"/>
            <a:ext cx="187026"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23" name="Text Placeholder 7"/>
          <p:cNvSpPr>
            <a:spLocks noGrp="1"/>
          </p:cNvSpPr>
          <p:nvPr>
            <p:ph type="body" sz="quarter" idx="21" hasCustomPrompt="1"/>
          </p:nvPr>
        </p:nvSpPr>
        <p:spPr>
          <a:xfrm>
            <a:off x="16614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4" name="Text Placeholder 7"/>
          <p:cNvSpPr>
            <a:spLocks noGrp="1"/>
          </p:cNvSpPr>
          <p:nvPr>
            <p:ph type="body" sz="quarter" idx="22" hasCustomPrompt="1"/>
          </p:nvPr>
        </p:nvSpPr>
        <p:spPr>
          <a:xfrm>
            <a:off x="16614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5" name="Text Placeholder 7"/>
          <p:cNvSpPr>
            <a:spLocks noGrp="1"/>
          </p:cNvSpPr>
          <p:nvPr>
            <p:ph type="body" sz="quarter" idx="23" hasCustomPrompt="1"/>
          </p:nvPr>
        </p:nvSpPr>
        <p:spPr>
          <a:xfrm>
            <a:off x="1661425"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6" name="Text Placeholder 7"/>
          <p:cNvSpPr>
            <a:spLocks noGrp="1"/>
          </p:cNvSpPr>
          <p:nvPr>
            <p:ph type="body" sz="quarter" idx="24" hasCustomPrompt="1"/>
          </p:nvPr>
        </p:nvSpPr>
        <p:spPr>
          <a:xfrm>
            <a:off x="1661425"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27" name="Text Placeholder 7"/>
          <p:cNvSpPr>
            <a:spLocks noGrp="1"/>
          </p:cNvSpPr>
          <p:nvPr>
            <p:ph type="body" sz="quarter" idx="25" hasCustomPrompt="1"/>
          </p:nvPr>
        </p:nvSpPr>
        <p:spPr>
          <a:xfrm>
            <a:off x="1661425"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28" name="Text Placeholder 7"/>
          <p:cNvSpPr>
            <a:spLocks noGrp="1"/>
          </p:cNvSpPr>
          <p:nvPr>
            <p:ph type="body" sz="quarter" idx="26" hasCustomPrompt="1"/>
          </p:nvPr>
        </p:nvSpPr>
        <p:spPr>
          <a:xfrm>
            <a:off x="1661425"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0" name="Text Placeholder 7"/>
          <p:cNvSpPr>
            <a:spLocks noGrp="1"/>
          </p:cNvSpPr>
          <p:nvPr>
            <p:ph type="body" sz="quarter" idx="27" hasCustomPrompt="1"/>
          </p:nvPr>
        </p:nvSpPr>
        <p:spPr>
          <a:xfrm>
            <a:off x="4063966"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1" name="Text Placeholder 7"/>
          <p:cNvSpPr>
            <a:spLocks noGrp="1"/>
          </p:cNvSpPr>
          <p:nvPr>
            <p:ph type="body" sz="quarter" idx="28" hasCustomPrompt="1"/>
          </p:nvPr>
        </p:nvSpPr>
        <p:spPr>
          <a:xfrm>
            <a:off x="4063966"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2" name="Text Placeholder 7"/>
          <p:cNvSpPr>
            <a:spLocks noGrp="1"/>
          </p:cNvSpPr>
          <p:nvPr>
            <p:ph type="body" sz="quarter" idx="29" hasCustomPrompt="1"/>
          </p:nvPr>
        </p:nvSpPr>
        <p:spPr>
          <a:xfrm>
            <a:off x="4063966"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3" name="Text Placeholder 7"/>
          <p:cNvSpPr>
            <a:spLocks noGrp="1"/>
          </p:cNvSpPr>
          <p:nvPr>
            <p:ph type="body" sz="quarter" idx="30" hasCustomPrompt="1"/>
          </p:nvPr>
        </p:nvSpPr>
        <p:spPr>
          <a:xfrm>
            <a:off x="4063966"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4" name="Text Placeholder 7"/>
          <p:cNvSpPr>
            <a:spLocks noGrp="1"/>
          </p:cNvSpPr>
          <p:nvPr>
            <p:ph type="body" sz="quarter" idx="31" hasCustomPrompt="1"/>
          </p:nvPr>
        </p:nvSpPr>
        <p:spPr>
          <a:xfrm>
            <a:off x="4063966" y="486992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5" name="Text Placeholder 7"/>
          <p:cNvSpPr>
            <a:spLocks noGrp="1"/>
          </p:cNvSpPr>
          <p:nvPr>
            <p:ph type="body" sz="quarter" idx="32" hasCustomPrompt="1"/>
          </p:nvPr>
        </p:nvSpPr>
        <p:spPr>
          <a:xfrm>
            <a:off x="4063966" y="503465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36" name="Text Placeholder 7"/>
          <p:cNvSpPr>
            <a:spLocks noGrp="1"/>
          </p:cNvSpPr>
          <p:nvPr>
            <p:ph type="body" sz="quarter" idx="33" hasCustomPrompt="1"/>
          </p:nvPr>
        </p:nvSpPr>
        <p:spPr>
          <a:xfrm>
            <a:off x="4063966" y="5508096"/>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37" name="Text Placeholder 7"/>
          <p:cNvSpPr>
            <a:spLocks noGrp="1"/>
          </p:cNvSpPr>
          <p:nvPr>
            <p:ph type="body" sz="quarter" idx="34" hasCustomPrompt="1"/>
          </p:nvPr>
        </p:nvSpPr>
        <p:spPr>
          <a:xfrm>
            <a:off x="4063966" y="5672827"/>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5" name="Text Placeholder 7"/>
          <p:cNvSpPr>
            <a:spLocks noGrp="1"/>
          </p:cNvSpPr>
          <p:nvPr>
            <p:ph type="body" sz="quarter" idx="35" hasCustomPrompt="1"/>
          </p:nvPr>
        </p:nvSpPr>
        <p:spPr>
          <a:xfrm>
            <a:off x="8600107" y="431298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6" name="Text Placeholder 7"/>
          <p:cNvSpPr>
            <a:spLocks noGrp="1"/>
          </p:cNvSpPr>
          <p:nvPr>
            <p:ph type="body" sz="quarter" idx="36" hasCustomPrompt="1"/>
          </p:nvPr>
        </p:nvSpPr>
        <p:spPr>
          <a:xfrm>
            <a:off x="8600107" y="447771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7" name="Text Placeholder 7"/>
          <p:cNvSpPr>
            <a:spLocks noGrp="1"/>
          </p:cNvSpPr>
          <p:nvPr>
            <p:ph type="body" sz="quarter" idx="37" hasCustomPrompt="1"/>
          </p:nvPr>
        </p:nvSpPr>
        <p:spPr>
          <a:xfrm>
            <a:off x="8600107" y="4941634"/>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48" name="Text Placeholder 7"/>
          <p:cNvSpPr>
            <a:spLocks noGrp="1"/>
          </p:cNvSpPr>
          <p:nvPr>
            <p:ph type="body" sz="quarter" idx="38" hasCustomPrompt="1"/>
          </p:nvPr>
        </p:nvSpPr>
        <p:spPr>
          <a:xfrm>
            <a:off x="8600107" y="5106365"/>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49" name="Text Placeholder 7"/>
          <p:cNvSpPr>
            <a:spLocks noGrp="1"/>
          </p:cNvSpPr>
          <p:nvPr>
            <p:ph type="body" sz="quarter" idx="39" hasCustomPrompt="1"/>
          </p:nvPr>
        </p:nvSpPr>
        <p:spPr>
          <a:xfrm>
            <a:off x="8600107" y="5579809"/>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0" name="Text Placeholder 7"/>
          <p:cNvSpPr>
            <a:spLocks noGrp="1"/>
          </p:cNvSpPr>
          <p:nvPr>
            <p:ph type="body" sz="quarter" idx="40" hasCustomPrompt="1"/>
          </p:nvPr>
        </p:nvSpPr>
        <p:spPr>
          <a:xfrm>
            <a:off x="8600107" y="5744540"/>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1" name="Text Placeholder 7"/>
          <p:cNvSpPr>
            <a:spLocks noGrp="1"/>
          </p:cNvSpPr>
          <p:nvPr>
            <p:ph type="body" sz="quarter" idx="41" hasCustomPrompt="1"/>
          </p:nvPr>
        </p:nvSpPr>
        <p:spPr>
          <a:xfrm>
            <a:off x="643662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2" name="Text Placeholder 7"/>
          <p:cNvSpPr>
            <a:spLocks noGrp="1"/>
          </p:cNvSpPr>
          <p:nvPr>
            <p:ph type="body" sz="quarter" idx="42" hasCustomPrompt="1"/>
          </p:nvPr>
        </p:nvSpPr>
        <p:spPr>
          <a:xfrm>
            <a:off x="643662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3" name="Text Placeholder 7"/>
          <p:cNvSpPr>
            <a:spLocks noGrp="1"/>
          </p:cNvSpPr>
          <p:nvPr>
            <p:ph type="body" sz="quarter" idx="43" hasCustomPrompt="1"/>
          </p:nvPr>
        </p:nvSpPr>
        <p:spPr>
          <a:xfrm>
            <a:off x="6436625" y="4241271"/>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4" name="Text Placeholder 7"/>
          <p:cNvSpPr>
            <a:spLocks noGrp="1"/>
          </p:cNvSpPr>
          <p:nvPr>
            <p:ph type="body" sz="quarter" idx="44" hasCustomPrompt="1"/>
          </p:nvPr>
        </p:nvSpPr>
        <p:spPr>
          <a:xfrm>
            <a:off x="6436625" y="4406002"/>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sp>
        <p:nvSpPr>
          <p:cNvPr id="255" name="Text Placeholder 7"/>
          <p:cNvSpPr>
            <a:spLocks noGrp="1"/>
          </p:cNvSpPr>
          <p:nvPr>
            <p:ph type="body" sz="quarter" idx="45" hasCustomPrompt="1"/>
          </p:nvPr>
        </p:nvSpPr>
        <p:spPr>
          <a:xfrm>
            <a:off x="9161895" y="3578458"/>
            <a:ext cx="1514474" cy="146021"/>
          </a:xfrm>
          <a:prstGeom prst="rect">
            <a:avLst/>
          </a:prstGeom>
        </p:spPr>
        <p:txBody>
          <a:bodyPr lIns="0" tIns="0" rIns="0" bIns="0" anchor="ctr"/>
          <a:lstStyle>
            <a:lvl1pPr marL="0" indent="0" algn="ctr">
              <a:buNone/>
              <a:defRPr sz="800" baseline="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NAME HERE. U/C WHITE. 8PT</a:t>
            </a:r>
          </a:p>
        </p:txBody>
      </p:sp>
      <p:sp>
        <p:nvSpPr>
          <p:cNvPr id="256" name="Text Placeholder 7"/>
          <p:cNvSpPr>
            <a:spLocks noGrp="1"/>
          </p:cNvSpPr>
          <p:nvPr>
            <p:ph type="body" sz="quarter" idx="46" hasCustomPrompt="1"/>
          </p:nvPr>
        </p:nvSpPr>
        <p:spPr>
          <a:xfrm>
            <a:off x="9161895" y="3743189"/>
            <a:ext cx="1514474" cy="81945"/>
          </a:xfrm>
          <a:prstGeom prst="rect">
            <a:avLst/>
          </a:prstGeom>
        </p:spPr>
        <p:txBody>
          <a:bodyPr lIns="0" tIns="0" rIns="0" bIns="0"/>
          <a:lstStyle>
            <a:lvl1pPr marL="0" indent="0" algn="ctr">
              <a:buNone/>
              <a:defRPr sz="600">
                <a:solidFill>
                  <a:schemeClr val="bg1"/>
                </a:solidFill>
              </a:defRPr>
            </a:lvl1pPr>
            <a:lvl2pPr marL="457200" indent="0">
              <a:buNone/>
              <a:defRPr sz="1000"/>
            </a:lvl2pPr>
            <a:lvl3pPr marL="914400" indent="0">
              <a:buNone/>
              <a:defRPr sz="1000"/>
            </a:lvl3pPr>
            <a:lvl4pPr marL="1371600" indent="0">
              <a:buNone/>
              <a:defRPr sz="1000"/>
            </a:lvl4pPr>
            <a:lvl5pPr marL="1828800" indent="0">
              <a:buNone/>
              <a:defRPr sz="1000"/>
            </a:lvl5pPr>
          </a:lstStyle>
          <a:p>
            <a:pPr lvl="0"/>
            <a:r>
              <a:rPr lang="en-US"/>
              <a:t>Job Title. White. 6PT</a:t>
            </a:r>
          </a:p>
        </p:txBody>
      </p:sp>
      <p:cxnSp>
        <p:nvCxnSpPr>
          <p:cNvPr id="257" name="Straight Connector 256"/>
          <p:cNvCxnSpPr/>
          <p:nvPr userDrawn="1"/>
        </p:nvCxnSpPr>
        <p:spPr>
          <a:xfrm flipH="1">
            <a:off x="10291072" y="5104123"/>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8" name="Straight Connector 257"/>
          <p:cNvCxnSpPr/>
          <p:nvPr userDrawn="1"/>
        </p:nvCxnSpPr>
        <p:spPr>
          <a:xfrm flipH="1">
            <a:off x="10291072" y="5719585"/>
            <a:ext cx="169687"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9" name="Straight Connector 258"/>
          <p:cNvCxnSpPr/>
          <p:nvPr userDrawn="1"/>
        </p:nvCxnSpPr>
        <p:spPr>
          <a:xfrm flipH="1">
            <a:off x="5750905" y="4377832"/>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0" name="Straight Connector 259"/>
          <p:cNvCxnSpPr/>
          <p:nvPr userDrawn="1"/>
        </p:nvCxnSpPr>
        <p:spPr>
          <a:xfrm flipH="1">
            <a:off x="5750905" y="5024067"/>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userDrawn="1"/>
        </p:nvCxnSpPr>
        <p:spPr>
          <a:xfrm flipH="1">
            <a:off x="5750905" y="5630736"/>
            <a:ext cx="178479" cy="0"/>
          </a:xfrm>
          <a:prstGeom prst="line">
            <a:avLst/>
          </a:prstGeom>
          <a:ln w="6350">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56803601"/>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type="title" preserve="1">
  <p:cSld name="27. LLA Slide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7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21A94022-2098-4D2D-B315-EFAAADBB6E98}" type="datetime2">
              <a:rPr lang="en-US" sz="800" smtClean="0"/>
              <a:t>Sunday, July 17, 2022</a:t>
            </a:fld>
            <a:r>
              <a:rPr lang="en-GB" sz="800"/>
              <a:t>  |</a:t>
            </a:r>
            <a:endParaRPr lang="en-US"/>
          </a:p>
        </p:txBody>
      </p:sp>
    </p:spTree>
    <p:extLst>
      <p:ext uri="{BB962C8B-B14F-4D97-AF65-F5344CB8AC3E}">
        <p14:creationId xmlns:p14="http://schemas.microsoft.com/office/powerpoint/2010/main" val="704799919"/>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28. LLA Slide Blank Confidential">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939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FIDENTIAL SLIDE.</a:t>
            </a:r>
          </a:p>
        </p:txBody>
      </p:sp>
      <p:sp>
        <p:nvSpPr>
          <p:cNvPr id="5" name="Parallelogram 4"/>
          <p:cNvSpPr/>
          <p:nvPr userDrawn="1"/>
        </p:nvSpPr>
        <p:spPr>
          <a:xfrm rot="10800000" flipH="1">
            <a:off x="9353004" y="3501"/>
            <a:ext cx="1514367" cy="998836"/>
          </a:xfrm>
          <a:prstGeom prst="parallelogram">
            <a:avLst>
              <a:gd name="adj" fmla="val 100977"/>
            </a:avLst>
          </a:prstGeom>
          <a:solidFill>
            <a:schemeClr val="accent4"/>
          </a:solidFill>
          <a:ln>
            <a:noFill/>
          </a:ln>
          <a:effectLst>
            <a:outerShdw blurRad="381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 Placeholder 10"/>
          <p:cNvSpPr>
            <a:spLocks noGrp="1"/>
          </p:cNvSpPr>
          <p:nvPr>
            <p:ph type="body" sz="quarter" idx="10" hasCustomPrompt="1"/>
          </p:nvPr>
        </p:nvSpPr>
        <p:spPr>
          <a:xfrm rot="2653766">
            <a:off x="9346483" y="320608"/>
            <a:ext cx="1546873" cy="355212"/>
          </a:xfrm>
          <a:prstGeom prst="rect">
            <a:avLst/>
          </a:prstGeom>
        </p:spPr>
        <p:txBody>
          <a:bodyPr anchor="ctr"/>
          <a:lstStyle>
            <a:lvl1pPr marL="0" indent="0" algn="ctr">
              <a:buNone/>
              <a:defRPr sz="1000" b="1">
                <a:solidFill>
                  <a:schemeClr val="bg1"/>
                </a:solidFill>
              </a:defRPr>
            </a:lvl1pPr>
          </a:lstStyle>
          <a:p>
            <a:pPr lvl="0"/>
            <a:r>
              <a:rPr lang="en-US"/>
              <a:t>CONFIDENTIAL</a:t>
            </a:r>
          </a:p>
        </p:txBody>
      </p:sp>
      <p:sp>
        <p:nvSpPr>
          <p:cNvPr id="6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65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65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FD927220-C677-4574-B529-C5B5C4DC00AD}" type="datetime2">
              <a:rPr lang="en-US" sz="800" smtClean="0"/>
              <a:t>Sunday, July 17, 2022</a:t>
            </a:fld>
            <a:r>
              <a:rPr lang="en-GB" sz="800"/>
              <a:t>  |</a:t>
            </a:r>
            <a:endParaRPr lang="en-US"/>
          </a:p>
        </p:txBody>
      </p:sp>
      <p:sp>
        <p:nvSpPr>
          <p:cNvPr id="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199985334"/>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29. LLA Slide Executive Summary">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822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EXECUTIVE SUMMARY SLIDE.</a:t>
            </a:r>
          </a:p>
        </p:txBody>
      </p:sp>
      <p:sp>
        <p:nvSpPr>
          <p:cNvPr id="35"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37" name="Text Placeholder 12"/>
          <p:cNvSpPr>
            <a:spLocks noGrp="1"/>
          </p:cNvSpPr>
          <p:nvPr>
            <p:ph type="body" sz="quarter" idx="14" hasCustomPrompt="1"/>
          </p:nvPr>
        </p:nvSpPr>
        <p:spPr>
          <a:xfrm>
            <a:off x="1557293" y="1550217"/>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38" name="Text Placeholder 9"/>
          <p:cNvSpPr>
            <a:spLocks noGrp="1"/>
          </p:cNvSpPr>
          <p:nvPr>
            <p:ph type="body" sz="quarter" idx="15" hasCustomPrompt="1"/>
          </p:nvPr>
        </p:nvSpPr>
        <p:spPr>
          <a:xfrm>
            <a:off x="736571" y="2462733"/>
            <a:ext cx="743499" cy="473655"/>
          </a:xfrm>
          <a:prstGeom prst="rect">
            <a:avLst/>
          </a:prstGeom>
        </p:spPr>
        <p:txBody>
          <a:bodyPr lIns="0" tIns="0" rIns="0" bIns="0" anchor="ctr"/>
          <a:lstStyle>
            <a:lvl1pPr marL="0" indent="0">
              <a:buNone/>
              <a:defRPr b="1" baseline="0">
                <a:solidFill>
                  <a:schemeClr val="tx1">
                    <a:lumMod val="60000"/>
                    <a:lumOff val="40000"/>
                  </a:schemeClr>
                </a:solidFill>
              </a:defRPr>
            </a:lvl1pPr>
          </a:lstStyle>
          <a:p>
            <a:pPr lvl="0"/>
            <a:r>
              <a:rPr lang="en-US"/>
              <a:t>| 02</a:t>
            </a:r>
          </a:p>
        </p:txBody>
      </p:sp>
      <p:sp>
        <p:nvSpPr>
          <p:cNvPr id="41" name="Text Placeholder 9"/>
          <p:cNvSpPr>
            <a:spLocks noGrp="1"/>
          </p:cNvSpPr>
          <p:nvPr>
            <p:ph type="body" sz="quarter" idx="18" hasCustomPrompt="1"/>
          </p:nvPr>
        </p:nvSpPr>
        <p:spPr>
          <a:xfrm>
            <a:off x="736570" y="3380924"/>
            <a:ext cx="743499" cy="473655"/>
          </a:xfrm>
          <a:prstGeom prst="rect">
            <a:avLst/>
          </a:prstGeom>
        </p:spPr>
        <p:txBody>
          <a:bodyPr lIns="0" tIns="0" rIns="0" bIns="0" anchor="ctr"/>
          <a:lstStyle>
            <a:lvl1pPr marL="0" indent="0">
              <a:buNone/>
              <a:defRPr b="1" baseline="0">
                <a:solidFill>
                  <a:schemeClr val="tx1">
                    <a:lumMod val="40000"/>
                    <a:lumOff val="60000"/>
                  </a:schemeClr>
                </a:solidFill>
              </a:defRPr>
            </a:lvl1pPr>
          </a:lstStyle>
          <a:p>
            <a:pPr lvl="0"/>
            <a:r>
              <a:rPr lang="en-US"/>
              <a:t>| 03</a:t>
            </a:r>
          </a:p>
        </p:txBody>
      </p:sp>
      <p:sp>
        <p:nvSpPr>
          <p:cNvPr id="44" name="Text Placeholder 9"/>
          <p:cNvSpPr>
            <a:spLocks noGrp="1"/>
          </p:cNvSpPr>
          <p:nvPr>
            <p:ph type="body" sz="quarter" idx="21" hasCustomPrompt="1"/>
          </p:nvPr>
        </p:nvSpPr>
        <p:spPr>
          <a:xfrm>
            <a:off x="736570" y="4298839"/>
            <a:ext cx="743499" cy="473655"/>
          </a:xfrm>
          <a:prstGeom prst="rect">
            <a:avLst/>
          </a:prstGeom>
        </p:spPr>
        <p:txBody>
          <a:bodyPr lIns="0" tIns="0" rIns="0" bIns="0" anchor="ctr"/>
          <a:lstStyle>
            <a:lvl1pPr marL="0" indent="0">
              <a:buNone/>
              <a:defRPr b="1" baseline="0">
                <a:solidFill>
                  <a:schemeClr val="bg1">
                    <a:lumMod val="50000"/>
                  </a:schemeClr>
                </a:solidFill>
              </a:defRPr>
            </a:lvl1pPr>
          </a:lstStyle>
          <a:p>
            <a:pPr lvl="0"/>
            <a:r>
              <a:rPr lang="en-US"/>
              <a:t>| 04</a:t>
            </a:r>
          </a:p>
        </p:txBody>
      </p:sp>
      <p:sp>
        <p:nvSpPr>
          <p:cNvPr id="50" name="Text Placeholder 9"/>
          <p:cNvSpPr>
            <a:spLocks noGrp="1"/>
          </p:cNvSpPr>
          <p:nvPr>
            <p:ph type="body" sz="quarter" idx="25" hasCustomPrompt="1"/>
          </p:nvPr>
        </p:nvSpPr>
        <p:spPr>
          <a:xfrm>
            <a:off x="736570" y="5184791"/>
            <a:ext cx="743499" cy="473655"/>
          </a:xfrm>
          <a:prstGeom prst="rect">
            <a:avLst/>
          </a:prstGeom>
        </p:spPr>
        <p:txBody>
          <a:bodyPr lIns="0" tIns="0" rIns="0" bIns="0" anchor="ctr"/>
          <a:lstStyle>
            <a:lvl1pPr marL="0" indent="0">
              <a:buNone/>
              <a:defRPr b="1" baseline="0">
                <a:solidFill>
                  <a:schemeClr val="tx2"/>
                </a:solidFill>
              </a:defRPr>
            </a:lvl1pPr>
          </a:lstStyle>
          <a:p>
            <a:pPr lvl="0"/>
            <a:r>
              <a:rPr lang="en-US"/>
              <a:t>| 05</a:t>
            </a:r>
          </a:p>
        </p:txBody>
      </p:sp>
      <p:sp>
        <p:nvSpPr>
          <p:cNvPr id="52" name="Text Placeholder 12"/>
          <p:cNvSpPr>
            <a:spLocks noGrp="1"/>
          </p:cNvSpPr>
          <p:nvPr>
            <p:ph type="body" sz="quarter" idx="26" hasCustomPrompt="1"/>
          </p:nvPr>
        </p:nvSpPr>
        <p:spPr>
          <a:xfrm>
            <a:off x="1557293" y="2462733"/>
            <a:ext cx="5284941"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a:t>
            </a:r>
            <a:br>
              <a:rPr lang="en-US"/>
            </a:br>
            <a:r>
              <a:rPr lang="en-US"/>
              <a:t>•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br>
              <a:rPr lang="en-US"/>
            </a:br>
            <a:r>
              <a:rPr lang="en-US"/>
              <a:t>• Lea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3" name="Text Placeholder 12"/>
          <p:cNvSpPr>
            <a:spLocks noGrp="1"/>
          </p:cNvSpPr>
          <p:nvPr>
            <p:ph type="body" sz="quarter" idx="27" hasCustomPrompt="1"/>
          </p:nvPr>
        </p:nvSpPr>
        <p:spPr>
          <a:xfrm>
            <a:off x="1557293" y="3376282"/>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br>
              <a:rPr lang="en-US"/>
            </a:b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a:t>
            </a:r>
            <a:br>
              <a:rPr lang="en-US"/>
            </a:br>
            <a:r>
              <a:rPr lang="en-US"/>
              <a:t>•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endParaRPr lang="en-US"/>
          </a:p>
        </p:txBody>
      </p:sp>
      <p:sp>
        <p:nvSpPr>
          <p:cNvPr id="54" name="Text Placeholder 12"/>
          <p:cNvSpPr>
            <a:spLocks noGrp="1"/>
          </p:cNvSpPr>
          <p:nvPr>
            <p:ph type="body" sz="quarter" idx="28" hasCustomPrompt="1"/>
          </p:nvPr>
        </p:nvSpPr>
        <p:spPr>
          <a:xfrm>
            <a:off x="1557293" y="4297539"/>
            <a:ext cx="7376500" cy="772569"/>
          </a:xfrm>
          <a:prstGeom prst="rect">
            <a:avLst/>
          </a:prstGeom>
        </p:spPr>
        <p:txBody>
          <a:bodyPr lIns="0" tIns="0" rIns="0" bIns="0"/>
          <a:lstStyle>
            <a:lvl1pPr marL="0" indent="0">
              <a:lnSpc>
                <a:spcPct val="100000"/>
              </a:lnSpc>
              <a:spcBef>
                <a:spcPts val="0"/>
              </a:spcBef>
              <a:buFont typeface="Arial" charset="0"/>
              <a:buNone/>
              <a:tabLst/>
              <a:defRPr sz="1200" baseline="0"/>
            </a:lvl1pPr>
          </a:lstStyle>
          <a:p>
            <a:pPr lvl="0"/>
            <a:r>
              <a:rPr lang="en-US"/>
              <a:t>Executive Summary text 14PT</a:t>
            </a:r>
            <a:br>
              <a:rPr lang="en-US"/>
            </a:br>
            <a:r>
              <a:rPr lang="en-US"/>
              <a:t>• </a:t>
            </a:r>
            <a:r>
              <a:rPr lang="en-US" err="1"/>
              <a:t>Te</a:t>
            </a:r>
            <a:r>
              <a:rPr lang="en-US"/>
              <a:t> </a:t>
            </a:r>
            <a:r>
              <a:rPr lang="en-US" err="1"/>
              <a:t>offendit</a:t>
            </a:r>
            <a:r>
              <a:rPr lang="en-US"/>
              <a:t> </a:t>
            </a:r>
            <a:r>
              <a:rPr lang="en-US" err="1"/>
              <a:t>consetetur</a:t>
            </a:r>
            <a:r>
              <a:rPr lang="en-US"/>
              <a:t> </a:t>
            </a:r>
            <a:r>
              <a:rPr lang="en-US" err="1"/>
              <a:t>ius</a:t>
            </a:r>
            <a:br>
              <a:rPr lang="en-US"/>
            </a:br>
            <a:r>
              <a:rPr lang="en-US"/>
              <a:t>• </a:t>
            </a:r>
            <a:r>
              <a:rPr lang="en-US" err="1"/>
              <a:t>Sed</a:t>
            </a:r>
            <a:r>
              <a:rPr lang="en-US"/>
              <a:t> ne alia dicit </a:t>
            </a:r>
            <a:r>
              <a:rPr lang="en-US" err="1"/>
              <a:t>albucius</a:t>
            </a:r>
            <a:r>
              <a:rPr lang="en-US"/>
              <a:t>, an nihil </a:t>
            </a:r>
            <a:r>
              <a:rPr lang="en-US" err="1"/>
              <a:t>ancillae</a:t>
            </a:r>
            <a:r>
              <a:rPr lang="en-US"/>
              <a:t> vis </a:t>
            </a:r>
            <a:r>
              <a:rPr lang="en-US" err="1"/>
              <a:t>prompta</a:t>
            </a:r>
            <a:r>
              <a:rPr lang="en-US"/>
              <a:t> qui no</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55" name="Text Placeholder 12"/>
          <p:cNvSpPr>
            <a:spLocks noGrp="1"/>
          </p:cNvSpPr>
          <p:nvPr>
            <p:ph type="body" sz="quarter" idx="29" hasCustomPrompt="1"/>
          </p:nvPr>
        </p:nvSpPr>
        <p:spPr>
          <a:xfrm>
            <a:off x="1557293" y="5187109"/>
            <a:ext cx="7376500" cy="772569"/>
          </a:xfrm>
          <a:prstGeom prst="rect">
            <a:avLst/>
          </a:prstGeom>
        </p:spPr>
        <p:txBody>
          <a:bodyPr lIns="0" tIns="0" rIns="0" bIns="0"/>
          <a:lstStyle>
            <a:lvl1pPr marL="0" marR="0" indent="0" algn="l" defTabSz="914400" rtl="0" eaLnBrk="1" fontAlgn="auto" latinLnBrk="0" hangingPunct="1">
              <a:lnSpc>
                <a:spcPct val="100000"/>
              </a:lnSpc>
              <a:spcBef>
                <a:spcPts val="0"/>
              </a:spcBef>
              <a:spcAft>
                <a:spcPts val="0"/>
              </a:spcAft>
              <a:buClrTx/>
              <a:buSzTx/>
              <a:buFont typeface="Arial" charset="0"/>
              <a:buNone/>
              <a:tabLst/>
              <a:defRPr sz="1200" baseline="0"/>
            </a:lvl1pPr>
          </a:lstStyle>
          <a:p>
            <a:pPr lvl="0"/>
            <a:r>
              <a:rPr lang="en-US"/>
              <a:t>Executive Summary text 14PT</a:t>
            </a:r>
            <a:br>
              <a:rPr lang="en-US"/>
            </a:br>
            <a:r>
              <a:rPr lang="en-US"/>
              <a:t>•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br>
              <a:rPr lang="en-US"/>
            </a:br>
            <a:r>
              <a:rPr lang="en-US"/>
              <a: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imperdie</a:t>
            </a:r>
            <a:br>
              <a:rPr lang="en-US"/>
            </a:br>
            <a:r>
              <a:rPr lang="en-US"/>
              <a:t>•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a:t>
            </a:r>
          </a:p>
        </p:txBody>
      </p:sp>
      <p:sp>
        <p:nvSpPr>
          <p:cNvPr id="5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5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5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E030F79D-2E55-4EC8-AAB5-C9B8675C4143}" type="datetime2">
              <a:rPr lang="en-US" sz="800" smtClean="0"/>
              <a:t>Sunday, July 17, 2022</a:t>
            </a:fld>
            <a:r>
              <a:rPr lang="en-GB" sz="800"/>
              <a:t>  |</a:t>
            </a:r>
            <a:endParaRPr lang="en-US"/>
          </a:p>
        </p:txBody>
      </p:sp>
      <p:sp>
        <p:nvSpPr>
          <p:cNvPr id="1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extLst>
      <p:ext uri="{BB962C8B-B14F-4D97-AF65-F5344CB8AC3E}">
        <p14:creationId xmlns:p14="http://schemas.microsoft.com/office/powerpoint/2010/main" val="3393373556"/>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p:txBody>
      </p:sp>
      <p:sp>
        <p:nvSpPr>
          <p:cNvPr id="8" name="Content Placeholder 3"/>
          <p:cNvSpPr>
            <a:spLocks noGrp="1"/>
          </p:cNvSpPr>
          <p:nvPr>
            <p:ph sz="quarter" idx="16"/>
          </p:nvPr>
        </p:nvSpPr>
        <p:spPr>
          <a:xfrm>
            <a:off x="46990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CA" noProof="0"/>
          </a:p>
        </p:txBody>
      </p:sp>
      <p:sp>
        <p:nvSpPr>
          <p:cNvPr id="10"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CA" noProof="0"/>
              <a:t>Click to add subtitle</a:t>
            </a:r>
          </a:p>
        </p:txBody>
      </p:sp>
      <p:sp>
        <p:nvSpPr>
          <p:cNvPr id="11" name="Title Placeholder 1"/>
          <p:cNvSpPr>
            <a:spLocks noGrp="1"/>
          </p:cNvSpPr>
          <p:nvPr>
            <p:ph type="title"/>
          </p:nvPr>
        </p:nvSpPr>
        <p:spPr>
          <a:xfrm>
            <a:off x="469900" y="402587"/>
            <a:ext cx="11252200" cy="334102"/>
          </a:xfrm>
          <a:prstGeom prst="rect">
            <a:avLst/>
          </a:prstGeom>
        </p:spPr>
        <p:txBody>
          <a:bodyPr vert="horz" lIns="0" tIns="0" rIns="0" bIns="0" rtlCol="0" anchor="t" anchorCtr="0">
            <a:noAutofit/>
          </a:bodyPr>
          <a:lstStyle>
            <a:lvl1pPr>
              <a:defRPr sz="2000"/>
            </a:lvl1pPr>
          </a:lstStyle>
          <a:p>
            <a:r>
              <a:rPr lang="en-US" noProof="0"/>
              <a:t>Click to edit Master title style</a:t>
            </a:r>
            <a:endParaRPr lang="en-CA" noProof="0"/>
          </a:p>
        </p:txBody>
      </p:sp>
      <p:sp>
        <p:nvSpPr>
          <p:cNvPr id="7" name="Footer Placeholder 2"/>
          <p:cNvSpPr>
            <a:spLocks noGrp="1"/>
          </p:cNvSpPr>
          <p:nvPr>
            <p:ph type="ftr" sz="quarter" idx="3"/>
          </p:nvPr>
        </p:nvSpPr>
        <p:spPr>
          <a:xfrm>
            <a:off x="9822445" y="6474295"/>
            <a:ext cx="1417055" cy="100027"/>
          </a:xfrm>
          <a:prstGeom prst="rect">
            <a:avLst/>
          </a:prstGeom>
        </p:spPr>
        <p:txBody>
          <a:bodyPr vert="horz" wrap="none" lIns="0" tIns="0" rIns="0" bIns="0" rtlCol="0" anchor="ctr">
            <a:spAutoFit/>
          </a:bodyPr>
          <a:lstStyle>
            <a:lvl1pPr algn="r">
              <a:defRPr sz="650">
                <a:solidFill>
                  <a:schemeClr val="tx1"/>
                </a:solidFill>
              </a:defRPr>
            </a:lvl1pPr>
          </a:lstStyle>
          <a:p>
            <a:r>
              <a:rPr lang="en-US"/>
              <a:t>INSERT PRESENTATION TITLE HERE  |  INSERT NAME HERE</a:t>
            </a:r>
            <a:endParaRPr lang="en-CA"/>
          </a:p>
        </p:txBody>
      </p:sp>
      <p:sp>
        <p:nvSpPr>
          <p:cNvPr id="9" name="Slide Number Placeholder 4"/>
          <p:cNvSpPr>
            <a:spLocks noGrp="1"/>
          </p:cNvSpPr>
          <p:nvPr>
            <p:ph type="sldNum" sz="quarter" idx="4"/>
          </p:nvPr>
        </p:nvSpPr>
        <p:spPr>
          <a:xfrm>
            <a:off x="11576226" y="6474295"/>
            <a:ext cx="145874" cy="100027"/>
          </a:xfrm>
          <a:prstGeom prst="rect">
            <a:avLst/>
          </a:prstGeom>
        </p:spPr>
        <p:txBody>
          <a:bodyPr vert="horz" wrap="none" lIns="0" tIns="0" rIns="0" bIns="0" rtlCol="0" anchor="ctr">
            <a:spAutoFit/>
          </a:bodyPr>
          <a:lstStyle>
            <a:lvl1pPr algn="r">
              <a:defRPr sz="650">
                <a:solidFill>
                  <a:schemeClr val="tx1"/>
                </a:solidFill>
              </a:defRPr>
            </a:lvl1pPr>
          </a:lstStyle>
          <a:p>
            <a:fld id="{1D70FF2A-E074-4D3B-BB94-FFBB4B519E26}" type="slidenum">
              <a:rPr lang="en-CA" smtClean="0"/>
              <a:pPr/>
              <a:t>‹#›</a:t>
            </a:fld>
            <a:endParaRPr lang="en-CA"/>
          </a:p>
        </p:txBody>
      </p:sp>
    </p:spTree>
    <p:extLst>
      <p:ext uri="{BB962C8B-B14F-4D97-AF65-F5344CB8AC3E}">
        <p14:creationId xmlns:p14="http://schemas.microsoft.com/office/powerpoint/2010/main" val="2750347889"/>
      </p:ext>
    </p:extLst>
  </p:cSld>
  <p:clrMapOvr>
    <a:masterClrMapping/>
  </p:clrMapOvr>
  <p:transition>
    <p:fade/>
  </p:transition>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1. Strategy Slide - Contents">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483224"/>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type="blank">
  <p:cSld name="Blank">
    <p:bg>
      <p:bgPr>
        <a:gradFill flip="none" rotWithShape="1">
          <a:gsLst>
            <a:gs pos="0">
              <a:schemeClr val="accent6">
                <a:lumMod val="0"/>
                <a:lumOff val="100000"/>
              </a:schemeClr>
            </a:gs>
            <a:gs pos="54000">
              <a:schemeClr val="accent6">
                <a:lumMod val="0"/>
                <a:lumOff val="100000"/>
                <a:alpha val="16000"/>
              </a:schemeClr>
            </a:gs>
            <a:gs pos="100000">
              <a:schemeClr val="bg1">
                <a:lumMod val="95000"/>
              </a:schemeClr>
            </a:gs>
          </a:gsLst>
          <a:path path="circle">
            <a:fillToRect l="50000" t="50000" r="50000" b="50000"/>
          </a:path>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7472195"/>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4. LLA Slide - Large Bold Tex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5" imgW="347" imgH="348" progId="TCLayout.ActiveDocument.1">
                  <p:embed/>
                </p:oleObj>
              </mc:Choice>
              <mc:Fallback>
                <p:oleObj name="think-cell Slide" r:id="rId5" imgW="347" imgH="348"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Arial MT Light"/>
              <a:sym typeface="Arial MT Light"/>
            </a:endParaRPr>
          </a:p>
        </p:txBody>
      </p:sp>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ABOUT LLA</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MAY 2022</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baseline="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UR OPERATIONS</a:t>
            </a:r>
          </a:p>
        </p:txBody>
      </p:sp>
    </p:spTree>
    <p:extLst>
      <p:ext uri="{BB962C8B-B14F-4D97-AF65-F5344CB8AC3E}">
        <p14:creationId xmlns:p14="http://schemas.microsoft.com/office/powerpoint/2010/main" val="3049112436"/>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4_4. LLA Slide - Large Bold Tex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5" imgW="347" imgH="348" progId="TCLayout.ActiveDocument.1">
                  <p:embed/>
                </p:oleObj>
              </mc:Choice>
              <mc:Fallback>
                <p:oleObj name="think-cell Slide" r:id="rId5" imgW="347" imgH="348"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US" sz="2400" b="0" i="0" baseline="0">
              <a:latin typeface="Arial MT Light"/>
              <a:sym typeface="Arial MT Light"/>
            </a:endParaRPr>
          </a:p>
        </p:txBody>
      </p:sp>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ABOUT LLA</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MAY 2022</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baseline="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ORPORATE VIDEO</a:t>
            </a:r>
          </a:p>
        </p:txBody>
      </p:sp>
      <p:sp>
        <p:nvSpPr>
          <p:cNvPr id="20" name="Picture Placeholder 19"/>
          <p:cNvSpPr>
            <a:spLocks noGrp="1"/>
          </p:cNvSpPr>
          <p:nvPr>
            <p:ph type="pic" sz="quarter" idx="10" hasCustomPrompt="1"/>
          </p:nvPr>
        </p:nvSpPr>
        <p:spPr>
          <a:xfrm>
            <a:off x="2479229" y="2438369"/>
            <a:ext cx="6725541" cy="2304547"/>
          </a:xfrm>
          <a:prstGeom prst="rect">
            <a:avLst/>
          </a:prstGeom>
        </p:spPr>
        <p:txBody>
          <a:bodyPr/>
          <a:lstStyle>
            <a:lvl1pPr>
              <a:defRPr baseline="0"/>
            </a:lvl1pPr>
          </a:lstStyle>
          <a:p>
            <a:r>
              <a:rPr lang="es-PR"/>
              <a:t>INSERT CORPORATE VIDEO</a:t>
            </a:r>
          </a:p>
          <a:p>
            <a:endParaRPr lang="es-PR"/>
          </a:p>
        </p:txBody>
      </p:sp>
    </p:spTree>
    <p:extLst>
      <p:ext uri="{BB962C8B-B14F-4D97-AF65-F5344CB8AC3E}">
        <p14:creationId xmlns:p14="http://schemas.microsoft.com/office/powerpoint/2010/main" val="305117457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918281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 LLA Slide - Conten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7193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CONTENTS PAGE/SLIDE WITH NUMBERS.</a:t>
            </a:r>
          </a:p>
        </p:txBody>
      </p:sp>
      <p:graphicFrame>
        <p:nvGraphicFramePr>
          <p:cNvPr id="12" name="Table 11"/>
          <p:cNvGraphicFramePr>
            <a:graphicFrameLocks noGrp="1"/>
          </p:cNvGraphicFramePr>
          <p:nvPr userDrawn="1">
            <p:extLst>
              <p:ext uri="{D42A27DB-BD31-4B8C-83A1-F6EECF244321}">
                <p14:modId xmlns:p14="http://schemas.microsoft.com/office/powerpoint/2010/main" val="911343145"/>
              </p:ext>
            </p:extLst>
          </p:nvPr>
        </p:nvGraphicFramePr>
        <p:xfrm>
          <a:off x="725212" y="1553302"/>
          <a:ext cx="10773104" cy="4246129"/>
        </p:xfrm>
        <a:graphic>
          <a:graphicData uri="http://schemas.openxmlformats.org/drawingml/2006/table">
            <a:tbl>
              <a:tblPr bandRow="1">
                <a:tableStyleId>{5C22544A-7EE6-4342-B048-85BDC9FD1C3A}</a:tableStyleId>
              </a:tblPr>
              <a:tblGrid>
                <a:gridCol w="9448802">
                  <a:extLst>
                    <a:ext uri="{9D8B030D-6E8A-4147-A177-3AD203B41FA5}">
                      <a16:colId xmlns:a16="http://schemas.microsoft.com/office/drawing/2014/main" val="20000"/>
                    </a:ext>
                  </a:extLst>
                </a:gridCol>
                <a:gridCol w="1324302">
                  <a:extLst>
                    <a:ext uri="{9D8B030D-6E8A-4147-A177-3AD203B41FA5}">
                      <a16:colId xmlns:a16="http://schemas.microsoft.com/office/drawing/2014/main" val="20001"/>
                    </a:ext>
                  </a:extLst>
                </a:gridCol>
              </a:tblGrid>
              <a:tr h="423471">
                <a:tc>
                  <a:txBody>
                    <a:bodyPr/>
                    <a:lstStyle/>
                    <a:p>
                      <a:r>
                        <a:rPr lang="en-US" sz="1200">
                          <a:solidFill>
                            <a:schemeClr val="bg2"/>
                          </a:solidFill>
                        </a:rPr>
                        <a:t>INTRODUCTION.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a:t>
                      </a:r>
                    </a:p>
                  </a:txBody>
                  <a:tcPr anchor="ctr">
                    <a:lnL w="3175" cap="flat" cmpd="sng" algn="ctr">
                      <a:solidFill>
                        <a:schemeClr val="accent6"/>
                      </a:solidFill>
                      <a:prstDash val="solid"/>
                      <a:round/>
                      <a:headEnd type="none" w="med" len="med"/>
                      <a:tailEnd type="none" w="med" len="med"/>
                    </a:lnL>
                    <a:lnT w="19050"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0"/>
                  </a:ext>
                </a:extLst>
              </a:tr>
              <a:tr h="7625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FIRST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endParaRPr lang="en-US" sz="1200" baseline="0">
                        <a:solidFill>
                          <a:schemeClr val="bg2"/>
                        </a:solidFill>
                      </a:endParaRP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3</a:t>
                      </a:r>
                    </a:p>
                    <a:p>
                      <a:pPr algn="r"/>
                      <a:r>
                        <a:rPr lang="en-US" sz="1000">
                          <a:solidFill>
                            <a:schemeClr val="tx2"/>
                          </a:solidFill>
                        </a:rPr>
                        <a:t>4</a:t>
                      </a:r>
                    </a:p>
                    <a:p>
                      <a:pPr algn="r"/>
                      <a:r>
                        <a:rPr lang="en-US" sz="1000">
                          <a:solidFill>
                            <a:schemeClr val="tx2"/>
                          </a:solidFill>
                        </a:rPr>
                        <a:t>5</a:t>
                      </a:r>
                    </a:p>
                    <a:p>
                      <a:pPr algn="r"/>
                      <a:r>
                        <a:rPr lang="en-US" sz="1000">
                          <a:solidFill>
                            <a:schemeClr val="tx1"/>
                          </a:solidFill>
                        </a:rPr>
                        <a:t>6</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1"/>
                  </a:ext>
                </a:extLst>
              </a:tr>
              <a:tr h="603682">
                <a:tc>
                  <a:txBody>
                    <a:bodyPr/>
                    <a:lstStyle/>
                    <a:p>
                      <a:r>
                        <a:rPr lang="en-US" sz="1200">
                          <a:solidFill>
                            <a:schemeClr val="bg2"/>
                          </a:solidFill>
                        </a:rPr>
                        <a:t>SECOND</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7</a:t>
                      </a:r>
                    </a:p>
                    <a:p>
                      <a:pPr algn="r"/>
                      <a:r>
                        <a:rPr lang="en-US" sz="1000">
                          <a:solidFill>
                            <a:schemeClr val="tx2"/>
                          </a:solidFill>
                        </a:rPr>
                        <a:t>8</a:t>
                      </a:r>
                    </a:p>
                    <a:p>
                      <a:pPr algn="r"/>
                      <a:r>
                        <a:rPr lang="en-US" sz="1000">
                          <a:solidFill>
                            <a:schemeClr val="tx2"/>
                          </a:solidFill>
                        </a:rPr>
                        <a:t>9</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2"/>
                  </a:ext>
                </a:extLst>
              </a:tr>
              <a:tr h="423471">
                <a:tc>
                  <a:txBody>
                    <a:bodyPr/>
                    <a:lstStyle/>
                    <a:p>
                      <a:r>
                        <a:rPr lang="en-US" sz="1200">
                          <a:solidFill>
                            <a:schemeClr val="bg2"/>
                          </a:solidFill>
                        </a:rPr>
                        <a:t>THIRD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0</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3"/>
                  </a:ext>
                </a:extLst>
              </a:tr>
              <a:tr h="423471">
                <a:tc>
                  <a:txBody>
                    <a:bodyPr/>
                    <a:lstStyle/>
                    <a:p>
                      <a:r>
                        <a:rPr lang="en-US" sz="1200">
                          <a:solidFill>
                            <a:schemeClr val="bg2"/>
                          </a:solidFill>
                        </a:rPr>
                        <a:t>FOURTH TOPIC HERE. 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4"/>
                  </a:ext>
                </a:extLst>
              </a:tr>
              <a:tr h="762546">
                <a:tc>
                  <a:txBody>
                    <a:bodyPr/>
                    <a:lstStyle/>
                    <a:p>
                      <a:r>
                        <a:rPr lang="en-US" sz="1200">
                          <a:solidFill>
                            <a:schemeClr val="bg2"/>
                          </a:solidFill>
                        </a:rPr>
                        <a:t>FIFTH TOPIC HERE. UPPERCASE</a:t>
                      </a:r>
                      <a:r>
                        <a:rPr lang="en-US" sz="1200" baseline="0">
                          <a:solidFill>
                            <a:schemeClr val="bg2"/>
                          </a:solidFill>
                        </a:rPr>
                        <a:t> ONLY. ORANGE. </a:t>
                      </a:r>
                      <a:r>
                        <a:rPr lang="en-US" sz="1200">
                          <a:solidFill>
                            <a:schemeClr val="bg2"/>
                          </a:solidFill>
                        </a:rPr>
                        <a:t>12PT</a:t>
                      </a:r>
                    </a:p>
                    <a:p>
                      <a:pPr marL="314325" indent="0">
                        <a:tabLst/>
                      </a:pPr>
                      <a:r>
                        <a:rPr lang="en-US" sz="1000" baseline="0">
                          <a:solidFill>
                            <a:schemeClr val="tx2"/>
                          </a:solidFill>
                        </a:rPr>
                        <a:t>First Subject Heading Here. Grey. 10PT</a:t>
                      </a: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Second Subject Title. Grey. 10PT</a:t>
                      </a:r>
                      <a:endParaRPr lang="en-US" sz="1000">
                        <a:solidFill>
                          <a:schemeClr val="tx2"/>
                        </a:solidFill>
                      </a:endParaRPr>
                    </a:p>
                    <a:p>
                      <a:pPr marL="314325" marR="0" indent="0" algn="l" defTabSz="914400" rtl="0" eaLnBrk="1" fontAlgn="auto" latinLnBrk="0" hangingPunct="1">
                        <a:lnSpc>
                          <a:spcPct val="100000"/>
                        </a:lnSpc>
                        <a:spcBef>
                          <a:spcPts val="0"/>
                        </a:spcBef>
                        <a:spcAft>
                          <a:spcPts val="0"/>
                        </a:spcAft>
                        <a:buClrTx/>
                        <a:buSzTx/>
                        <a:buFontTx/>
                        <a:buNone/>
                        <a:tabLst/>
                        <a:defRPr/>
                      </a:pPr>
                      <a:r>
                        <a:rPr lang="en-US" sz="1000" baseline="0">
                          <a:solidFill>
                            <a:schemeClr val="tx2"/>
                          </a:solidFill>
                        </a:rPr>
                        <a:t>Third Subject Heading Here. Grey. 10PT</a:t>
                      </a:r>
                      <a:endParaRPr lang="en-US" sz="1000">
                        <a:solidFill>
                          <a:schemeClr val="tx2"/>
                        </a:solidFill>
                      </a:endParaRP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18</a:t>
                      </a:r>
                    </a:p>
                    <a:p>
                      <a:pPr algn="r"/>
                      <a:r>
                        <a:rPr lang="en-US" sz="1000">
                          <a:solidFill>
                            <a:schemeClr val="tx2"/>
                          </a:solidFill>
                        </a:rPr>
                        <a:t>19</a:t>
                      </a:r>
                    </a:p>
                    <a:p>
                      <a:pPr algn="r"/>
                      <a:r>
                        <a:rPr lang="en-US" sz="1000">
                          <a:solidFill>
                            <a:schemeClr val="tx2"/>
                          </a:solidFill>
                        </a:rPr>
                        <a:t>20</a:t>
                      </a:r>
                    </a:p>
                    <a:p>
                      <a:pPr algn="r"/>
                      <a:r>
                        <a:rPr lang="en-US" sz="1000">
                          <a:solidFill>
                            <a:schemeClr val="tx2"/>
                          </a:solidFill>
                        </a:rPr>
                        <a:t>21</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5"/>
                  </a:ext>
                </a:extLst>
              </a:tr>
              <a:tr h="4234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a:solidFill>
                            <a:schemeClr val="bg2"/>
                          </a:solidFill>
                        </a:rPr>
                        <a:t>SIXTH TOPIC HERE.</a:t>
                      </a:r>
                      <a:r>
                        <a:rPr lang="en-US" sz="1200" baseline="0">
                          <a:solidFill>
                            <a:schemeClr val="bg2"/>
                          </a:solidFill>
                        </a:rPr>
                        <a:t>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22</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9525"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6"/>
                  </a:ext>
                </a:extLst>
              </a:tr>
              <a:tr h="423471">
                <a:tc>
                  <a:txBody>
                    <a:bodyPr/>
                    <a:lstStyle/>
                    <a:p>
                      <a:r>
                        <a:rPr lang="en-US" sz="1200">
                          <a:solidFill>
                            <a:schemeClr val="bg2"/>
                          </a:solidFill>
                        </a:rPr>
                        <a:t>SEVENTH</a:t>
                      </a:r>
                      <a:r>
                        <a:rPr lang="en-US" sz="1200" baseline="0">
                          <a:solidFill>
                            <a:schemeClr val="bg2"/>
                          </a:solidFill>
                        </a:rPr>
                        <a:t> TOPIC HERE. </a:t>
                      </a:r>
                      <a:r>
                        <a:rPr lang="en-US" sz="1200">
                          <a:solidFill>
                            <a:schemeClr val="bg2"/>
                          </a:solidFill>
                        </a:rPr>
                        <a:t>UPPERCASE</a:t>
                      </a:r>
                      <a:r>
                        <a:rPr lang="en-US" sz="1200" baseline="0">
                          <a:solidFill>
                            <a:schemeClr val="bg2"/>
                          </a:solidFill>
                        </a:rPr>
                        <a:t> ONLY. ORANGE. </a:t>
                      </a:r>
                      <a:r>
                        <a:rPr lang="en-US" sz="1200">
                          <a:solidFill>
                            <a:schemeClr val="bg2"/>
                          </a:solidFill>
                        </a:rPr>
                        <a:t>12PT</a:t>
                      </a:r>
                    </a:p>
                  </a:txBody>
                  <a:tcPr anchor="ctr">
                    <a:lnR w="3175" cap="flat" cmpd="sng" algn="ctr">
                      <a:solidFill>
                        <a:schemeClr val="accent6"/>
                      </a:solidFill>
                      <a:prstDash val="solid"/>
                      <a:round/>
                      <a:headEnd type="none" w="med" len="med"/>
                      <a:tailEnd type="none" w="med" len="med"/>
                    </a:lnR>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tc>
                  <a:txBody>
                    <a:bodyPr/>
                    <a:lstStyle/>
                    <a:p>
                      <a:pPr algn="r"/>
                      <a:r>
                        <a:rPr lang="en-US" sz="1200">
                          <a:solidFill>
                            <a:schemeClr val="bg2"/>
                          </a:solidFill>
                        </a:rPr>
                        <a:t>45</a:t>
                      </a:r>
                    </a:p>
                  </a:txBody>
                  <a:tcPr anchor="ctr">
                    <a:lnL w="3175" cap="flat" cmpd="sng" algn="ctr">
                      <a:solidFill>
                        <a:schemeClr val="accent6"/>
                      </a:solidFill>
                      <a:prstDash val="solid"/>
                      <a:round/>
                      <a:headEnd type="none" w="med" len="med"/>
                      <a:tailEnd type="none" w="med" len="med"/>
                    </a:lnL>
                    <a:lnT w="9525" cap="flat" cmpd="sng" algn="ctr">
                      <a:solidFill>
                        <a:schemeClr val="accent6"/>
                      </a:solidFill>
                      <a:prstDash val="solid"/>
                      <a:round/>
                      <a:headEnd type="none" w="med" len="med"/>
                      <a:tailEnd type="none" w="med" len="med"/>
                    </a:lnT>
                    <a:lnB w="19050" cap="flat" cmpd="sng" algn="ctr">
                      <a:solidFill>
                        <a:schemeClr val="accent6"/>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
        <p:nvSpPr>
          <p:cNvPr id="7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8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 LLA Slide - Intro Para,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PICTURE.</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 LLA Slide - Intro Para, Bullets, 4 x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NTRO PARAGRAPH WITH BULLET POINTS AND 4 X PICTURES.</a:t>
            </a:r>
          </a:p>
        </p:txBody>
      </p:sp>
      <p:sp>
        <p:nvSpPr>
          <p:cNvPr id="5"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9" name="Picture Placeholder 8"/>
          <p:cNvSpPr>
            <a:spLocks noGrp="1"/>
          </p:cNvSpPr>
          <p:nvPr>
            <p:ph type="pic" sz="quarter" idx="11" hasCustomPrompt="1"/>
          </p:nvPr>
        </p:nvSpPr>
        <p:spPr>
          <a:xfrm>
            <a:off x="7550151"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1" name="Text Placeholder 10"/>
          <p:cNvSpPr>
            <a:spLocks noGrp="1"/>
          </p:cNvSpPr>
          <p:nvPr>
            <p:ph type="body" sz="quarter" idx="12" hasCustomPrompt="1"/>
          </p:nvPr>
        </p:nvSpPr>
        <p:spPr>
          <a:xfrm>
            <a:off x="725214" y="2332847"/>
            <a:ext cx="6513786" cy="326231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37" name="Picture Placeholder 8"/>
          <p:cNvSpPr>
            <a:spLocks noGrp="1"/>
          </p:cNvSpPr>
          <p:nvPr>
            <p:ph type="pic" sz="quarter" idx="13" hasCustomPrompt="1"/>
          </p:nvPr>
        </p:nvSpPr>
        <p:spPr>
          <a:xfrm>
            <a:off x="9804400" y="15525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8" name="Picture Placeholder 8"/>
          <p:cNvSpPr>
            <a:spLocks noGrp="1"/>
          </p:cNvSpPr>
          <p:nvPr>
            <p:ph type="pic" sz="quarter" idx="14" hasCustomPrompt="1"/>
          </p:nvPr>
        </p:nvSpPr>
        <p:spPr>
          <a:xfrm>
            <a:off x="7550151"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39" name="Picture Placeholder 8"/>
          <p:cNvSpPr>
            <a:spLocks noGrp="1"/>
          </p:cNvSpPr>
          <p:nvPr>
            <p:ph type="pic" sz="quarter" idx="15" hasCustomPrompt="1"/>
          </p:nvPr>
        </p:nvSpPr>
        <p:spPr>
          <a:xfrm>
            <a:off x="9804400" y="3762375"/>
            <a:ext cx="1959609" cy="1891665"/>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40"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1"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2"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 LLA Slide - Large Bold Text">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31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FOR CREATIVE INTEREST.</a:t>
            </a:r>
          </a:p>
        </p:txBody>
      </p:sp>
      <p:sp>
        <p:nvSpPr>
          <p:cNvPr id="44" name="Text Placeholder 28"/>
          <p:cNvSpPr>
            <a:spLocks noGrp="1"/>
          </p:cNvSpPr>
          <p:nvPr>
            <p:ph type="body" sz="quarter" idx="15" hasCustomPrompt="1"/>
          </p:nvPr>
        </p:nvSpPr>
        <p:spPr>
          <a:xfrm>
            <a:off x="812799" y="1698045"/>
            <a:ext cx="10348785" cy="4380026"/>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 and different weight of text to create interes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4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 LLA Slide - Large Bold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3B546A7-1C5A-46CC-A7AB-B931EE436B76}"/>
              </a:ext>
            </a:extLst>
          </p:cNvPr>
          <p:cNvGraphicFramePr>
            <a:graphicFrameLocks noChangeAspect="1"/>
          </p:cNvGraphicFramePr>
          <p:nvPr userDrawn="1">
            <p:custDataLst>
              <p:tags r:id="rId2"/>
            </p:custDataLst>
            <p:extLst>
              <p:ext uri="{D42A27DB-BD31-4B8C-83A1-F6EECF244321}">
                <p14:modId xmlns:p14="http://schemas.microsoft.com/office/powerpoint/2010/main" val="145983317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3" name="think-cell Slide" r:id="rId4" imgW="270" imgH="270" progId="TCLayout.ActiveDocument.1">
                  <p:embed/>
                </p:oleObj>
              </mc:Choice>
              <mc:Fallback>
                <p:oleObj name="think-cell Slide" r:id="rId4" imgW="270" imgH="270" progId="TCLayout.ActiveDocument.1">
                  <p:embed/>
                  <p:pic>
                    <p:nvPicPr>
                      <p:cNvPr id="2" name="Object 1" hidden="1">
                        <a:extLst>
                          <a:ext uri="{FF2B5EF4-FFF2-40B4-BE49-F238E27FC236}">
                            <a16:creationId xmlns:a16="http://schemas.microsoft.com/office/drawing/2014/main" id="{A3B546A7-1C5A-46CC-A7AB-B931EE436B76}"/>
                          </a:ext>
                        </a:extLst>
                      </p:cNvPr>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6" name="Text Placeholder 28"/>
          <p:cNvSpPr>
            <a:spLocks noGrp="1"/>
          </p:cNvSpPr>
          <p:nvPr>
            <p:ph type="body" sz="quarter" idx="16" hasCustomPrompt="1"/>
          </p:nvPr>
        </p:nvSpPr>
        <p:spPr>
          <a:xfrm>
            <a:off x="858549" y="1810855"/>
            <a:ext cx="10249719" cy="4380026"/>
          </a:xfrm>
          <a:prstGeom prst="rect">
            <a:avLst/>
          </a:prstGeom>
        </p:spPr>
        <p:txBody>
          <a:bodyPr/>
          <a:lstStyle>
            <a:lvl1pPr marL="0" indent="0">
              <a:buNone/>
              <a:defRPr sz="30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dirty="0"/>
              <a:t>Use this to create large bold text statements. Use ‘Function Color’ and different weight of text to create interest. Lorem ipsum dolor sit </a:t>
            </a:r>
            <a:r>
              <a:rPr lang="en-US" dirty="0" err="1"/>
              <a:t>amet</a:t>
            </a:r>
            <a:r>
              <a:rPr lang="en-US" dirty="0"/>
              <a:t>, </a:t>
            </a:r>
            <a:r>
              <a:rPr lang="en-US" dirty="0" err="1"/>
              <a:t>nonumy</a:t>
            </a:r>
            <a:r>
              <a:rPr lang="en-US" dirty="0"/>
              <a:t> </a:t>
            </a:r>
            <a:r>
              <a:rPr lang="en-US" dirty="0" err="1"/>
              <a:t>mucius</a:t>
            </a:r>
            <a:r>
              <a:rPr lang="en-US" dirty="0"/>
              <a:t> </a:t>
            </a:r>
            <a:r>
              <a:rPr lang="en-US" dirty="0" err="1"/>
              <a:t>dissentiunt</a:t>
            </a:r>
            <a:r>
              <a:rPr lang="en-US" dirty="0"/>
              <a:t> </a:t>
            </a:r>
            <a:r>
              <a:rPr lang="en-US" dirty="0" err="1"/>
              <a:t>mei</a:t>
            </a:r>
            <a:r>
              <a:rPr lang="en-US" dirty="0"/>
              <a:t> ad. Magna </a:t>
            </a:r>
            <a:r>
              <a:rPr lang="en-US" dirty="0" err="1"/>
              <a:t>omnes</a:t>
            </a:r>
            <a:r>
              <a:rPr lang="en-US" dirty="0"/>
              <a:t> </a:t>
            </a:r>
            <a:r>
              <a:rPr lang="en-US" dirty="0" err="1"/>
              <a:t>saperet</a:t>
            </a:r>
            <a:r>
              <a:rPr lang="en-US" dirty="0"/>
              <a:t> </a:t>
            </a:r>
            <a:r>
              <a:rPr lang="en-US" dirty="0" err="1"/>
              <a:t>ea</a:t>
            </a:r>
            <a:r>
              <a:rPr lang="en-US" dirty="0"/>
              <a:t> duo. Mea </a:t>
            </a:r>
            <a:r>
              <a:rPr lang="en-US" dirty="0" err="1"/>
              <a:t>appareat</a:t>
            </a:r>
            <a:r>
              <a:rPr lang="en-US" dirty="0"/>
              <a:t> </a:t>
            </a:r>
            <a:r>
              <a:rPr lang="en-US" dirty="0" err="1"/>
              <a:t>ocurreret</a:t>
            </a:r>
            <a:r>
              <a:rPr lang="en-US" dirty="0"/>
              <a:t> </a:t>
            </a:r>
            <a:r>
              <a:rPr lang="en-US" dirty="0" err="1"/>
              <a:t>vertitur</a:t>
            </a:r>
            <a:r>
              <a:rPr lang="en-US" dirty="0"/>
              <a:t> et, </a:t>
            </a:r>
            <a:r>
              <a:rPr lang="en-US" dirty="0" err="1"/>
              <a:t>eum</a:t>
            </a:r>
            <a:r>
              <a:rPr lang="en-US" dirty="0"/>
              <a:t> et </a:t>
            </a:r>
            <a:r>
              <a:rPr lang="en-US" dirty="0" err="1"/>
              <a:t>aeque</a:t>
            </a:r>
            <a:r>
              <a:rPr lang="en-US" dirty="0"/>
              <a:t> </a:t>
            </a:r>
            <a:r>
              <a:rPr lang="en-US" dirty="0" err="1"/>
              <a:t>quidam</a:t>
            </a:r>
            <a:r>
              <a:rPr lang="en-US" dirty="0"/>
              <a:t> </a:t>
            </a:r>
            <a:r>
              <a:rPr lang="en-US" dirty="0" err="1"/>
              <a:t>mollis</a:t>
            </a:r>
            <a:r>
              <a:rPr lang="en-US" dirty="0"/>
              <a:t>. An </a:t>
            </a:r>
            <a:r>
              <a:rPr lang="en-US" dirty="0" err="1"/>
              <a:t>vidit</a:t>
            </a:r>
            <a:r>
              <a:rPr lang="en-US" dirty="0"/>
              <a:t> </a:t>
            </a:r>
            <a:r>
              <a:rPr lang="en-US" dirty="0" err="1"/>
              <a:t>putent</a:t>
            </a:r>
            <a:r>
              <a:rPr lang="en-US" dirty="0"/>
              <a:t> </a:t>
            </a:r>
            <a:r>
              <a:rPr lang="en-US" dirty="0" err="1"/>
              <a:t>docendi</a:t>
            </a:r>
            <a:r>
              <a:rPr lang="en-US" dirty="0"/>
              <a:t> vim, duo at </a:t>
            </a:r>
            <a:r>
              <a:rPr lang="en-US" dirty="0" err="1"/>
              <a:t>essent</a:t>
            </a:r>
            <a:r>
              <a:rPr lang="en-US" dirty="0"/>
              <a:t> </a:t>
            </a:r>
            <a:r>
              <a:rPr lang="en-US" dirty="0" err="1"/>
              <a:t>electram</a:t>
            </a:r>
            <a:r>
              <a:rPr lang="en-US" dirty="0"/>
              <a:t>.</a:t>
            </a:r>
          </a:p>
        </p:txBody>
      </p:sp>
      <p:sp>
        <p:nvSpPr>
          <p:cNvPr id="41" name="Title 1"/>
          <p:cNvSpPr>
            <a:spLocks noGrp="1"/>
          </p:cNvSpPr>
          <p:nvPr>
            <p:ph type="ctrTitle" hasCustomPrompt="1"/>
          </p:nvPr>
        </p:nvSpPr>
        <p:spPr>
          <a:xfrm>
            <a:off x="415832" y="406400"/>
            <a:ext cx="9419049" cy="546166"/>
          </a:xfrm>
          <a:prstGeom prst="rect">
            <a:avLst/>
          </a:prstGeom>
        </p:spPr>
        <p:txBody>
          <a:bodyPr lIns="0" tIns="0" rIns="0" bIns="0" anchor="t">
            <a:normAutofit/>
          </a:bodyPr>
          <a:lstStyle>
            <a:lvl1pPr algn="l">
              <a:defRPr sz="2000" b="0" i="0" baseline="0">
                <a:solidFill>
                  <a:schemeClr val="tx1"/>
                </a:solidFill>
                <a:latin typeface="Arial MT Light" charset="0"/>
                <a:ea typeface="Arial MT Light" charset="0"/>
                <a:cs typeface="Arial MT Light" charset="0"/>
              </a:defRPr>
            </a:lvl1pPr>
          </a:lstStyle>
          <a:p>
            <a:r>
              <a:rPr lang="en-US" dirty="0"/>
              <a:t>CLICK TO EDIT HEADING TEXT. UPPERCASE ONLY. 20PT</a:t>
            </a:r>
            <a:br>
              <a:rPr lang="en-US" dirty="0"/>
            </a:br>
            <a:r>
              <a:rPr lang="en-US" dirty="0"/>
              <a:t>LARGE BOLD TEXT FOR CREATIVE INTEREST.</a:t>
            </a:r>
          </a:p>
        </p:txBody>
      </p:sp>
      <p:sp>
        <p:nvSpPr>
          <p:cNvPr id="43" name="Slide Number Placeholder 34"/>
          <p:cNvSpPr>
            <a:spLocks noGrp="1"/>
          </p:cNvSpPr>
          <p:nvPr>
            <p:ph type="sldNum" sz="quarter" idx="4"/>
          </p:nvPr>
        </p:nvSpPr>
        <p:spPr>
          <a:xfrm>
            <a:off x="11318258" y="6591300"/>
            <a:ext cx="562001" cy="230746"/>
          </a:xfrm>
          <a:prstGeom prst="rect">
            <a:avLst/>
          </a:prstGeom>
        </p:spPr>
        <p:txBody>
          <a:bodyPr anchor="ctr"/>
          <a:lstStyle>
            <a:lvl1pPr algn="r">
              <a:defRPr sz="1100">
                <a:solidFill>
                  <a:schemeClr val="bg1"/>
                </a:solidFill>
              </a:defRPr>
            </a:lvl1pPr>
          </a:lstStyle>
          <a:p>
            <a:fld id="{496097A3-845D-4C79-9B10-713A18711759}" type="slidenum">
              <a:rPr lang="en-US" smtClean="0"/>
              <a:pPr/>
              <a:t>‹#›</a:t>
            </a:fld>
            <a:endParaRPr lang="en-US" dirty="0"/>
          </a:p>
        </p:txBody>
      </p:sp>
      <p:sp>
        <p:nvSpPr>
          <p:cNvPr id="44" name="Date Placeholder 32"/>
          <p:cNvSpPr>
            <a:spLocks noGrp="1"/>
          </p:cNvSpPr>
          <p:nvPr>
            <p:ph type="dt" sz="half" idx="2"/>
          </p:nvPr>
        </p:nvSpPr>
        <p:spPr>
          <a:xfrm>
            <a:off x="8348980" y="6591300"/>
            <a:ext cx="2971800" cy="241300"/>
          </a:xfrm>
          <a:prstGeom prst="rect">
            <a:avLst/>
          </a:prstGeom>
        </p:spPr>
        <p:txBody>
          <a:bodyPr anchor="ctr"/>
          <a:lstStyle>
            <a:lvl1pPr>
              <a:defRPr sz="600">
                <a:solidFill>
                  <a:schemeClr val="bg1"/>
                </a:solidFill>
              </a:defRPr>
            </a:lvl1pPr>
          </a:lstStyle>
          <a:p>
            <a:pPr algn="r"/>
            <a:endParaRPr lang="en-US" dirty="0"/>
          </a:p>
        </p:txBody>
      </p:sp>
      <p:sp>
        <p:nvSpPr>
          <p:cNvPr id="8" name="Subtitle 2"/>
          <p:cNvSpPr>
            <a:spLocks noGrp="1"/>
          </p:cNvSpPr>
          <p:nvPr>
            <p:ph type="subTitle" idx="1" hasCustomPrompt="1"/>
          </p:nvPr>
        </p:nvSpPr>
        <p:spPr>
          <a:xfrm>
            <a:off x="415832" y="1000047"/>
            <a:ext cx="9419049"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SUB HEADING. UPPERCASE ONLY. 14PT</a:t>
            </a:r>
          </a:p>
        </p:txBody>
      </p:sp>
    </p:spTree>
    <p:extLst>
      <p:ext uri="{BB962C8B-B14F-4D97-AF65-F5344CB8AC3E}">
        <p14:creationId xmlns:p14="http://schemas.microsoft.com/office/powerpoint/2010/main" val="10542056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5. LLA Slide - Large Bold Text and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866"/>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LARGE BOLD TEXT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28"/>
          <p:cNvSpPr>
            <a:spLocks noGrp="1"/>
          </p:cNvSpPr>
          <p:nvPr>
            <p:ph type="body" sz="quarter" idx="15" hasCustomPrompt="1"/>
          </p:nvPr>
        </p:nvSpPr>
        <p:spPr>
          <a:xfrm>
            <a:off x="812799" y="1698045"/>
            <a:ext cx="6444347" cy="3205031"/>
          </a:xfrm>
          <a:prstGeom prst="rect">
            <a:avLst/>
          </a:prstGeom>
        </p:spPr>
        <p:txBody>
          <a:bodyPr/>
          <a:lstStyle>
            <a:lvl1pPr marL="0" indent="0">
              <a:buNone/>
              <a:defRPr sz="3600" b="0" i="0" baseline="0">
                <a:solidFill>
                  <a:schemeClr val="tx1">
                    <a:lumMod val="75000"/>
                    <a:lumOff val="25000"/>
                  </a:schemeClr>
                </a:solidFill>
                <a:latin typeface="Arial" charset="0"/>
                <a:ea typeface="Arial" charset="0"/>
                <a:cs typeface="Arial" charset="0"/>
              </a:defRPr>
            </a:lvl1pPr>
            <a:lvl2pPr>
              <a:defRPr sz="2200">
                <a:solidFill>
                  <a:schemeClr val="tx1">
                    <a:lumMod val="75000"/>
                    <a:lumOff val="25000"/>
                  </a:schemeClr>
                </a:solidFill>
              </a:defRPr>
            </a:lvl2pPr>
            <a:lvl3pPr>
              <a:defRPr sz="2200">
                <a:solidFill>
                  <a:schemeClr val="tx1">
                    <a:lumMod val="75000"/>
                    <a:lumOff val="25000"/>
                  </a:schemeClr>
                </a:solidFill>
              </a:defRPr>
            </a:lvl3pPr>
            <a:lvl4pPr>
              <a:defRPr sz="2200">
                <a:solidFill>
                  <a:schemeClr val="tx1">
                    <a:lumMod val="75000"/>
                    <a:lumOff val="25000"/>
                  </a:schemeClr>
                </a:solidFill>
              </a:defRPr>
            </a:lvl4pPr>
            <a:lvl5pPr>
              <a:defRPr sz="2200">
                <a:solidFill>
                  <a:schemeClr val="tx1">
                    <a:lumMod val="75000"/>
                    <a:lumOff val="25000"/>
                  </a:schemeClr>
                </a:solidFill>
              </a:defRPr>
            </a:lvl5pPr>
          </a:lstStyle>
          <a:p>
            <a:pPr lvl="0"/>
            <a:r>
              <a:rPr lang="en-US"/>
              <a:t>Use this to create large bold text statements. Use ‘Function Colors’ and different weight of text to create interest. Lorem ipsum dolor sit </a:t>
            </a:r>
            <a:r>
              <a:rPr lang="en-US" err="1"/>
              <a:t>amet</a:t>
            </a:r>
            <a:r>
              <a:rPr lang="en-US"/>
              <a:t>, et, </a:t>
            </a:r>
            <a:r>
              <a:rPr lang="en-US" err="1"/>
              <a:t>eum</a:t>
            </a:r>
            <a:r>
              <a:rPr lang="en-US"/>
              <a:t> et </a:t>
            </a:r>
            <a:r>
              <a:rPr lang="en-US" err="1"/>
              <a:t>aeque</a:t>
            </a:r>
            <a:r>
              <a:rPr lang="en-US"/>
              <a:t> </a:t>
            </a:r>
            <a:r>
              <a:rPr lang="en-US" err="1"/>
              <a:t>quidam</a:t>
            </a:r>
            <a:r>
              <a:rPr lang="en-US"/>
              <a:t> </a:t>
            </a:r>
            <a:r>
              <a:rPr lang="en-US" err="1"/>
              <a:t>mollis</a:t>
            </a:r>
            <a:r>
              <a:rPr lang="en-US"/>
              <a:t>. </a:t>
            </a:r>
          </a:p>
        </p:txBody>
      </p:sp>
      <p:sp>
        <p:nvSpPr>
          <p:cNvPr id="7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8"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 LLA Slide - Numbered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47453"/>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NUMBERED BULLET POINTS WITH DESCRIPTIONS.</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10" name="Text Placeholder 9"/>
          <p:cNvSpPr>
            <a:spLocks noGrp="1"/>
          </p:cNvSpPr>
          <p:nvPr>
            <p:ph type="body" sz="quarter" idx="12" hasCustomPrompt="1"/>
          </p:nvPr>
        </p:nvSpPr>
        <p:spPr>
          <a:xfrm>
            <a:off x="736571" y="1548820"/>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1</a:t>
            </a:r>
          </a:p>
        </p:txBody>
      </p:sp>
      <p:sp>
        <p:nvSpPr>
          <p:cNvPr id="75" name="Text Placeholder 9"/>
          <p:cNvSpPr>
            <a:spLocks noGrp="1"/>
          </p:cNvSpPr>
          <p:nvPr>
            <p:ph type="body" sz="quarter" idx="13" hasCustomPrompt="1"/>
          </p:nvPr>
        </p:nvSpPr>
        <p:spPr>
          <a:xfrm>
            <a:off x="1546783" y="1548820"/>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13" name="Text Placeholder 12"/>
          <p:cNvSpPr>
            <a:spLocks noGrp="1"/>
          </p:cNvSpPr>
          <p:nvPr>
            <p:ph type="body" sz="quarter" idx="14" hasCustomPrompt="1"/>
          </p:nvPr>
        </p:nvSpPr>
        <p:spPr>
          <a:xfrm>
            <a:off x="725214" y="2080519"/>
            <a:ext cx="5980386" cy="408680"/>
          </a:xfrm>
          <a:prstGeom prst="rect">
            <a:avLst/>
          </a:prstGeom>
        </p:spPr>
        <p:txBody>
          <a:bodyPr lIns="0" tIns="0" rIns="0" bIns="0"/>
          <a:lstStyle>
            <a:lvl1pPr marL="0" indent="0">
              <a:buNone/>
              <a:defRPr sz="1000" baseline="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6" name="Text Placeholder 9"/>
          <p:cNvSpPr>
            <a:spLocks noGrp="1"/>
          </p:cNvSpPr>
          <p:nvPr>
            <p:ph type="body" sz="quarter" idx="15" hasCustomPrompt="1"/>
          </p:nvPr>
        </p:nvSpPr>
        <p:spPr>
          <a:xfrm>
            <a:off x="736571" y="2678157"/>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2</a:t>
            </a:r>
          </a:p>
        </p:txBody>
      </p:sp>
      <p:sp>
        <p:nvSpPr>
          <p:cNvPr id="77" name="Text Placeholder 9"/>
          <p:cNvSpPr>
            <a:spLocks noGrp="1"/>
          </p:cNvSpPr>
          <p:nvPr>
            <p:ph type="body" sz="quarter" idx="16" hasCustomPrompt="1"/>
          </p:nvPr>
        </p:nvSpPr>
        <p:spPr>
          <a:xfrm>
            <a:off x="1546783" y="2678157"/>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78" name="Text Placeholder 12"/>
          <p:cNvSpPr>
            <a:spLocks noGrp="1"/>
          </p:cNvSpPr>
          <p:nvPr>
            <p:ph type="body" sz="quarter" idx="17" hasCustomPrompt="1"/>
          </p:nvPr>
        </p:nvSpPr>
        <p:spPr>
          <a:xfrm>
            <a:off x="725214" y="3209856"/>
            <a:ext cx="5475889" cy="408680"/>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79" name="Text Placeholder 9"/>
          <p:cNvSpPr>
            <a:spLocks noGrp="1"/>
          </p:cNvSpPr>
          <p:nvPr>
            <p:ph type="body" sz="quarter" idx="18" hasCustomPrompt="1"/>
          </p:nvPr>
        </p:nvSpPr>
        <p:spPr>
          <a:xfrm>
            <a:off x="736571" y="3809511"/>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3</a:t>
            </a:r>
          </a:p>
        </p:txBody>
      </p:sp>
      <p:sp>
        <p:nvSpPr>
          <p:cNvPr id="80" name="Text Placeholder 9"/>
          <p:cNvSpPr>
            <a:spLocks noGrp="1"/>
          </p:cNvSpPr>
          <p:nvPr>
            <p:ph type="body" sz="quarter" idx="19" hasCustomPrompt="1"/>
          </p:nvPr>
        </p:nvSpPr>
        <p:spPr>
          <a:xfrm>
            <a:off x="1546783" y="3809511"/>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1" name="Text Placeholder 12"/>
          <p:cNvSpPr>
            <a:spLocks noGrp="1"/>
          </p:cNvSpPr>
          <p:nvPr>
            <p:ph type="body" sz="quarter" idx="20" hasCustomPrompt="1"/>
          </p:nvPr>
        </p:nvSpPr>
        <p:spPr>
          <a:xfrm>
            <a:off x="725214" y="4341210"/>
            <a:ext cx="570711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5" name="Text Placeholder 9"/>
          <p:cNvSpPr>
            <a:spLocks noGrp="1"/>
          </p:cNvSpPr>
          <p:nvPr>
            <p:ph type="body" sz="quarter" idx="21" hasCustomPrompt="1"/>
          </p:nvPr>
        </p:nvSpPr>
        <p:spPr>
          <a:xfrm>
            <a:off x="736571" y="4927598"/>
            <a:ext cx="743499" cy="473655"/>
          </a:xfrm>
          <a:prstGeom prst="rect">
            <a:avLst/>
          </a:prstGeom>
        </p:spPr>
        <p:txBody>
          <a:bodyPr lIns="0" tIns="0" rIns="0" bIns="0" anchor="ctr"/>
          <a:lstStyle>
            <a:lvl1pPr marL="0" indent="0">
              <a:buNone/>
              <a:defRPr b="1" baseline="0">
                <a:solidFill>
                  <a:schemeClr val="tx1"/>
                </a:solidFill>
              </a:defRPr>
            </a:lvl1pPr>
          </a:lstStyle>
          <a:p>
            <a:pPr lvl="0"/>
            <a:r>
              <a:rPr lang="en-US"/>
              <a:t>| 04</a:t>
            </a:r>
          </a:p>
        </p:txBody>
      </p:sp>
      <p:sp>
        <p:nvSpPr>
          <p:cNvPr id="86" name="Text Placeholder 9"/>
          <p:cNvSpPr>
            <a:spLocks noGrp="1"/>
          </p:cNvSpPr>
          <p:nvPr>
            <p:ph type="body" sz="quarter" idx="22" hasCustomPrompt="1"/>
          </p:nvPr>
        </p:nvSpPr>
        <p:spPr>
          <a:xfrm>
            <a:off x="1546783" y="4927598"/>
            <a:ext cx="2509620" cy="473655"/>
          </a:xfrm>
          <a:prstGeom prst="rect">
            <a:avLst/>
          </a:prstGeom>
        </p:spPr>
        <p:txBody>
          <a:bodyPr lIns="0" tIns="0" rIns="0" bIns="0" anchor="ctr"/>
          <a:lstStyle>
            <a:lvl1pPr marL="0" indent="0">
              <a:buNone/>
              <a:defRPr sz="1800" b="0" baseline="0"/>
            </a:lvl1pPr>
          </a:lstStyle>
          <a:p>
            <a:pPr lvl="0"/>
            <a:r>
              <a:rPr lang="en-US"/>
              <a:t>Your Text Here. 18PT</a:t>
            </a:r>
          </a:p>
        </p:txBody>
      </p:sp>
      <p:sp>
        <p:nvSpPr>
          <p:cNvPr id="87" name="Text Placeholder 12"/>
          <p:cNvSpPr>
            <a:spLocks noGrp="1"/>
          </p:cNvSpPr>
          <p:nvPr>
            <p:ph type="body" sz="quarter" idx="23" hasCustomPrompt="1"/>
          </p:nvPr>
        </p:nvSpPr>
        <p:spPr>
          <a:xfrm>
            <a:off x="725214" y="5459297"/>
            <a:ext cx="5085527" cy="392681"/>
          </a:xfrm>
          <a:prstGeom prst="rect">
            <a:avLst/>
          </a:prstGeom>
        </p:spPr>
        <p:txBody>
          <a:bodyPr lIns="0" tIns="0" rIns="0" bIns="0"/>
          <a:lstStyle>
            <a:lvl1pPr marL="0" indent="0">
              <a:buNone/>
              <a:defRPr sz="1000"/>
            </a:lvl1pPr>
          </a:lstStyle>
          <a:p>
            <a:pPr lvl="0"/>
            <a:r>
              <a:rPr lang="en-US"/>
              <a:t>Description text 10PT. </a:t>
            </a:r>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r>
              <a:rPr lang="en-US"/>
              <a:t>, an nihil </a:t>
            </a:r>
            <a:r>
              <a:rPr lang="en-US" err="1"/>
              <a:t>ancillae</a:t>
            </a:r>
            <a:r>
              <a:rPr lang="en-US"/>
              <a:t> vis, </a:t>
            </a:r>
            <a:r>
              <a:rPr lang="en-US" err="1"/>
              <a:t>possim</a:t>
            </a:r>
            <a:r>
              <a:rPr lang="en-US"/>
              <a:t> </a:t>
            </a:r>
            <a:r>
              <a:rPr lang="en-US" err="1"/>
              <a:t>prompta</a:t>
            </a:r>
            <a:r>
              <a:rPr lang="en-US"/>
              <a:t> </a:t>
            </a:r>
            <a:r>
              <a:rPr lang="en-US" err="1"/>
              <a:t>imperdiet</a:t>
            </a:r>
            <a:r>
              <a:rPr lang="en-US"/>
              <a:t> qui no. 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0"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1"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2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7. LLA Slide - Icon/Symbol Bullets, Pictu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11979"/>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ICON/SYMBOL BULLET POINTS WITH PICTURE.</a:t>
            </a:r>
          </a:p>
        </p:txBody>
      </p:sp>
      <p:sp>
        <p:nvSpPr>
          <p:cNvPr id="9" name="Picture Placeholder 8"/>
          <p:cNvSpPr>
            <a:spLocks noGrp="1"/>
          </p:cNvSpPr>
          <p:nvPr>
            <p:ph type="pic" sz="quarter" idx="11" hasCustomPrompt="1"/>
          </p:nvPr>
        </p:nvSpPr>
        <p:spPr>
          <a:xfrm>
            <a:off x="7550150" y="1552575"/>
            <a:ext cx="4322763" cy="4411663"/>
          </a:xfrm>
          <a:prstGeom prst="rect">
            <a:avLst/>
          </a:prstGeom>
          <a:solidFill>
            <a:schemeClr val="bg1">
              <a:lumMod val="95000"/>
            </a:schemeClr>
          </a:solidFill>
          <a:ln w="12700">
            <a:solidFill>
              <a:schemeClr val="bg1"/>
            </a:solidFill>
          </a:ln>
          <a:effectLst>
            <a:outerShdw blurRad="50800" dist="76200" dir="5400000" algn="t" rotWithShape="0">
              <a:prstClr val="black">
                <a:alpha val="40000"/>
              </a:prstClr>
            </a:outerShdw>
          </a:effectLst>
        </p:spPr>
        <p:txBody>
          <a:bodyPr anchor="ctr"/>
          <a:lstStyle>
            <a:lvl1pPr marL="0" indent="0" algn="ctr">
              <a:buFontTx/>
              <a:buNone/>
              <a:defRPr sz="2000">
                <a:solidFill>
                  <a:schemeClr val="accent6"/>
                </a:solidFill>
              </a:defRPr>
            </a:lvl1pPr>
          </a:lstStyle>
          <a:p>
            <a:r>
              <a:rPr lang="en-US"/>
              <a:t>PICTURE</a:t>
            </a:r>
          </a:p>
        </p:txBody>
      </p:sp>
      <p:sp>
        <p:nvSpPr>
          <p:cNvPr id="75" name="Text Placeholder 9"/>
          <p:cNvSpPr>
            <a:spLocks noGrp="1"/>
          </p:cNvSpPr>
          <p:nvPr>
            <p:ph type="body" sz="quarter" idx="13" hasCustomPrompt="1"/>
          </p:nvPr>
        </p:nvSpPr>
        <p:spPr>
          <a:xfrm>
            <a:off x="1546782" y="1548820"/>
            <a:ext cx="5493795"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6" name="Picture Placeholder 5"/>
          <p:cNvSpPr>
            <a:spLocks noGrp="1"/>
          </p:cNvSpPr>
          <p:nvPr>
            <p:ph type="pic" sz="quarter" idx="24" hasCustomPrompt="1"/>
          </p:nvPr>
        </p:nvSpPr>
        <p:spPr>
          <a:xfrm>
            <a:off x="725213" y="1536239"/>
            <a:ext cx="726483" cy="584200"/>
          </a:xfrm>
          <a:prstGeom prst="rect">
            <a:avLst/>
          </a:prstGeom>
          <a:solidFill>
            <a:schemeClr val="bg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54" name="Text Placeholder 9"/>
          <p:cNvSpPr>
            <a:spLocks noGrp="1"/>
          </p:cNvSpPr>
          <p:nvPr>
            <p:ph type="body" sz="quarter" idx="25" hasCustomPrompt="1"/>
          </p:nvPr>
        </p:nvSpPr>
        <p:spPr>
          <a:xfrm>
            <a:off x="1546782" y="2362201"/>
            <a:ext cx="5751873"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55" name="Picture Placeholder 5"/>
          <p:cNvSpPr>
            <a:spLocks noGrp="1"/>
          </p:cNvSpPr>
          <p:nvPr>
            <p:ph type="pic" sz="quarter" idx="26" hasCustomPrompt="1"/>
          </p:nvPr>
        </p:nvSpPr>
        <p:spPr>
          <a:xfrm>
            <a:off x="725213" y="2349620"/>
            <a:ext cx="726483" cy="584200"/>
          </a:xfrm>
          <a:prstGeom prst="rect">
            <a:avLst/>
          </a:prstGeom>
          <a:solidFill>
            <a:schemeClr val="accent2"/>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2" name="Text Placeholder 9"/>
          <p:cNvSpPr>
            <a:spLocks noGrp="1"/>
          </p:cNvSpPr>
          <p:nvPr>
            <p:ph type="body" sz="quarter" idx="27" hasCustomPrompt="1"/>
          </p:nvPr>
        </p:nvSpPr>
        <p:spPr>
          <a:xfrm>
            <a:off x="1546783" y="3191126"/>
            <a:ext cx="4801368"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similique</a:t>
            </a:r>
            <a:r>
              <a:rPr lang="en-US"/>
              <a:t>, </a:t>
            </a:r>
            <a:r>
              <a:rPr lang="en-US" err="1"/>
              <a:t>eum</a:t>
            </a:r>
            <a:r>
              <a:rPr lang="en-US"/>
              <a:t> </a:t>
            </a:r>
            <a:r>
              <a:rPr lang="en-US" err="1"/>
              <a:t>illud</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3" name="Picture Placeholder 5"/>
          <p:cNvSpPr>
            <a:spLocks noGrp="1"/>
          </p:cNvSpPr>
          <p:nvPr>
            <p:ph type="pic" sz="quarter" idx="28" hasCustomPrompt="1"/>
          </p:nvPr>
        </p:nvSpPr>
        <p:spPr>
          <a:xfrm>
            <a:off x="725213" y="3178545"/>
            <a:ext cx="726483" cy="584200"/>
          </a:xfrm>
          <a:prstGeom prst="rect">
            <a:avLst/>
          </a:prstGeom>
          <a:solidFill>
            <a:schemeClr val="accent1"/>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84" name="Text Placeholder 9"/>
          <p:cNvSpPr>
            <a:spLocks noGrp="1"/>
          </p:cNvSpPr>
          <p:nvPr>
            <p:ph type="body" sz="quarter" idx="29" hasCustomPrompt="1"/>
          </p:nvPr>
        </p:nvSpPr>
        <p:spPr>
          <a:xfrm>
            <a:off x="1546783" y="4034623"/>
            <a:ext cx="5493794"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a:t>
            </a:r>
            <a:r>
              <a:rPr lang="en-US" err="1"/>
              <a:t>illud</a:t>
            </a:r>
            <a:r>
              <a:rPr lang="en-US"/>
              <a:t> </a:t>
            </a:r>
            <a:r>
              <a:rPr lang="en-US" err="1"/>
              <a:t>delicata</a:t>
            </a:r>
            <a:r>
              <a:rPr lang="en-US"/>
              <a:t> cu. </a:t>
            </a:r>
            <a:br>
              <a:rPr lang="en-US"/>
            </a:b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88" name="Picture Placeholder 5"/>
          <p:cNvSpPr>
            <a:spLocks noGrp="1"/>
          </p:cNvSpPr>
          <p:nvPr>
            <p:ph type="pic" sz="quarter" idx="30" hasCustomPrompt="1"/>
          </p:nvPr>
        </p:nvSpPr>
        <p:spPr>
          <a:xfrm>
            <a:off x="725213" y="4022042"/>
            <a:ext cx="726483" cy="584200"/>
          </a:xfrm>
          <a:prstGeom prst="rect">
            <a:avLst/>
          </a:prstGeom>
          <a:solidFill>
            <a:schemeClr val="accent5"/>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3" name="Text Placeholder 9"/>
          <p:cNvSpPr>
            <a:spLocks noGrp="1"/>
          </p:cNvSpPr>
          <p:nvPr>
            <p:ph type="body" sz="quarter" idx="31" hasCustomPrompt="1"/>
          </p:nvPr>
        </p:nvSpPr>
        <p:spPr>
          <a:xfrm>
            <a:off x="1546783" y="4874167"/>
            <a:ext cx="5863010" cy="571619"/>
          </a:xfrm>
          <a:prstGeom prst="rect">
            <a:avLst/>
          </a:prstGeom>
        </p:spPr>
        <p:txBody>
          <a:bodyPr lIns="0" tIns="0" rIns="0" bIns="0" anchor="t"/>
          <a:lstStyle>
            <a:lvl1pPr marL="0" indent="0">
              <a:lnSpc>
                <a:spcPct val="100000"/>
              </a:lnSpc>
              <a:spcBef>
                <a:spcPts val="0"/>
              </a:spcBef>
              <a:buNone/>
              <a:defRPr sz="1200" b="0" baseline="0"/>
            </a:lvl1pPr>
          </a:lstStyle>
          <a:p>
            <a:pPr lvl="0"/>
            <a:r>
              <a:rPr lang="en-US"/>
              <a:t>Bullet Point Text 12PT.</a:t>
            </a:r>
            <a:br>
              <a:rPr lang="en-US"/>
            </a:br>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delicata</a:t>
            </a:r>
            <a:r>
              <a:rPr lang="en-US"/>
              <a:t> cu.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r>
              <a:rPr lang="en-US"/>
              <a:t>.</a:t>
            </a:r>
          </a:p>
        </p:txBody>
      </p:sp>
      <p:sp>
        <p:nvSpPr>
          <p:cNvPr id="94" name="Picture Placeholder 5"/>
          <p:cNvSpPr>
            <a:spLocks noGrp="1"/>
          </p:cNvSpPr>
          <p:nvPr>
            <p:ph type="pic" sz="quarter" idx="32" hasCustomPrompt="1"/>
          </p:nvPr>
        </p:nvSpPr>
        <p:spPr>
          <a:xfrm>
            <a:off x="725213" y="4861586"/>
            <a:ext cx="726483" cy="584200"/>
          </a:xfrm>
          <a:prstGeom prst="rect">
            <a:avLst/>
          </a:prstGeom>
          <a:solidFill>
            <a:schemeClr val="accent3"/>
          </a:solidFill>
          <a:effectLst>
            <a:outerShdw blurRad="50800" dist="76200" dir="5400000" algn="t" rotWithShape="0">
              <a:prstClr val="black">
                <a:alpha val="40000"/>
              </a:prstClr>
            </a:outerShdw>
          </a:effectLst>
        </p:spPr>
        <p:txBody>
          <a:bodyPr anchor="ctr"/>
          <a:lstStyle>
            <a:lvl1pPr marL="0" indent="0" algn="ctr">
              <a:buNone/>
              <a:defRPr sz="600" baseline="0">
                <a:solidFill>
                  <a:schemeClr val="accent6"/>
                </a:solidFill>
              </a:defRPr>
            </a:lvl1pPr>
          </a:lstStyle>
          <a:p>
            <a:r>
              <a:rPr lang="en-US"/>
              <a:t>ICON SYMBOL</a:t>
            </a:r>
          </a:p>
        </p:txBody>
      </p:sp>
      <p:sp>
        <p:nvSpPr>
          <p:cNvPr id="9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9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9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8. LLA Slide - 5 Circle Icon/Symbol Bullets">
    <p:spTree>
      <p:nvGrpSpPr>
        <p:cNvPr id="1" name=""/>
        <p:cNvGrpSpPr/>
        <p:nvPr/>
      </p:nvGrpSpPr>
      <p:grpSpPr>
        <a:xfrm>
          <a:off x="0" y="0"/>
          <a:ext cx="0" cy="0"/>
          <a:chOff x="0" y="0"/>
          <a:chExt cx="0" cy="0"/>
        </a:xfrm>
      </p:grpSpPr>
      <p:cxnSp>
        <p:nvCxnSpPr>
          <p:cNvPr id="92" name="Straight Connector 91"/>
          <p:cNvCxnSpPr/>
          <p:nvPr userDrawn="1"/>
        </p:nvCxnSpPr>
        <p:spPr>
          <a:xfrm>
            <a:off x="2069538"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405440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ctrTitle" hasCustomPrompt="1"/>
          </p:nvPr>
        </p:nvSpPr>
        <p:spPr>
          <a:xfrm>
            <a:off x="311873" y="207732"/>
            <a:ext cx="9966660" cy="64145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FIVE CIRCLE ICON/SYMBOLS WITH BULLET POINTS.</a:t>
            </a:r>
          </a:p>
        </p:txBody>
      </p:sp>
      <p:sp>
        <p:nvSpPr>
          <p:cNvPr id="80" name="Oval 79"/>
          <p:cNvSpPr/>
          <p:nvPr userDrawn="1"/>
        </p:nvSpPr>
        <p:spPr>
          <a:xfrm>
            <a:off x="1401475" y="1653167"/>
            <a:ext cx="1341345" cy="1341345"/>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85" name="TextBox 84"/>
          <p:cNvSpPr txBox="1"/>
          <p:nvPr userDrawn="1"/>
        </p:nvSpPr>
        <p:spPr>
          <a:xfrm>
            <a:off x="1636402" y="1661716"/>
            <a:ext cx="944840" cy="861774"/>
          </a:xfrm>
          <a:prstGeom prst="rect">
            <a:avLst/>
          </a:prstGeom>
          <a:noFill/>
        </p:spPr>
        <p:txBody>
          <a:bodyPr wrap="square" rtlCol="0">
            <a:spAutoFit/>
          </a:bodyPr>
          <a:lstStyle/>
          <a:p>
            <a:r>
              <a:rPr lang="en-US" sz="5000">
                <a:solidFill>
                  <a:schemeClr val="bg1"/>
                </a:solidFill>
              </a:rPr>
              <a:t>01</a:t>
            </a:r>
          </a:p>
        </p:txBody>
      </p:sp>
      <p:pic>
        <p:nvPicPr>
          <p:cNvPr id="86" name="Picture 8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797578" y="2424127"/>
            <a:ext cx="575529" cy="383686"/>
          </a:xfrm>
          <a:prstGeom prst="rect">
            <a:avLst/>
          </a:prstGeom>
        </p:spPr>
      </p:pic>
      <p:sp>
        <p:nvSpPr>
          <p:cNvPr id="101" name="Text Placeholder 4"/>
          <p:cNvSpPr>
            <a:spLocks noGrp="1"/>
          </p:cNvSpPr>
          <p:nvPr>
            <p:ph type="body" sz="quarter" idx="14" hasCustomPrompt="1"/>
          </p:nvPr>
        </p:nvSpPr>
        <p:spPr>
          <a:xfrm>
            <a:off x="1232815"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6" name="Oval 105"/>
          <p:cNvSpPr/>
          <p:nvPr userDrawn="1"/>
        </p:nvSpPr>
        <p:spPr>
          <a:xfrm>
            <a:off x="3386337" y="1653167"/>
            <a:ext cx="1341345" cy="1341345"/>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07" name="TextBox 106"/>
          <p:cNvSpPr txBox="1"/>
          <p:nvPr userDrawn="1"/>
        </p:nvSpPr>
        <p:spPr>
          <a:xfrm>
            <a:off x="3621264" y="1661716"/>
            <a:ext cx="944840" cy="861774"/>
          </a:xfrm>
          <a:prstGeom prst="rect">
            <a:avLst/>
          </a:prstGeom>
          <a:noFill/>
        </p:spPr>
        <p:txBody>
          <a:bodyPr wrap="square" rtlCol="0">
            <a:spAutoFit/>
          </a:bodyPr>
          <a:lstStyle/>
          <a:p>
            <a:r>
              <a:rPr lang="en-US" sz="5000">
                <a:solidFill>
                  <a:schemeClr val="bg1"/>
                </a:solidFill>
              </a:rPr>
              <a:t>02</a:t>
            </a:r>
          </a:p>
        </p:txBody>
      </p:sp>
      <p:sp>
        <p:nvSpPr>
          <p:cNvPr id="111" name="Text Placeholder 4"/>
          <p:cNvSpPr>
            <a:spLocks noGrp="1"/>
          </p:cNvSpPr>
          <p:nvPr>
            <p:ph type="body" sz="quarter" idx="15" hasCustomPrompt="1"/>
          </p:nvPr>
        </p:nvSpPr>
        <p:spPr>
          <a:xfrm>
            <a:off x="321767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9" name="Picture 9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3915852" y="2409762"/>
            <a:ext cx="277095" cy="512721"/>
          </a:xfrm>
          <a:prstGeom prst="rect">
            <a:avLst/>
          </a:prstGeom>
        </p:spPr>
      </p:pic>
      <p:cxnSp>
        <p:nvCxnSpPr>
          <p:cNvPr id="112" name="Straight Connector 111"/>
          <p:cNvCxnSpPr/>
          <p:nvPr userDrawn="1"/>
        </p:nvCxnSpPr>
        <p:spPr>
          <a:xfrm>
            <a:off x="6044322"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3" name="Oval 112"/>
          <p:cNvSpPr/>
          <p:nvPr userDrawn="1"/>
        </p:nvSpPr>
        <p:spPr>
          <a:xfrm>
            <a:off x="5376259" y="1653167"/>
            <a:ext cx="1341345" cy="1341345"/>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4" name="TextBox 113"/>
          <p:cNvSpPr txBox="1"/>
          <p:nvPr userDrawn="1"/>
        </p:nvSpPr>
        <p:spPr>
          <a:xfrm>
            <a:off x="5611186" y="1661716"/>
            <a:ext cx="944840" cy="861774"/>
          </a:xfrm>
          <a:prstGeom prst="rect">
            <a:avLst/>
          </a:prstGeom>
          <a:noFill/>
        </p:spPr>
        <p:txBody>
          <a:bodyPr wrap="square" rtlCol="0">
            <a:spAutoFit/>
          </a:bodyPr>
          <a:lstStyle/>
          <a:p>
            <a:r>
              <a:rPr lang="en-US" sz="5000">
                <a:solidFill>
                  <a:schemeClr val="bg1"/>
                </a:solidFill>
              </a:rPr>
              <a:t>03</a:t>
            </a:r>
          </a:p>
        </p:txBody>
      </p:sp>
      <p:sp>
        <p:nvSpPr>
          <p:cNvPr id="116" name="Text Placeholder 4"/>
          <p:cNvSpPr>
            <a:spLocks noGrp="1"/>
          </p:cNvSpPr>
          <p:nvPr>
            <p:ph type="body" sz="quarter" idx="16" hasCustomPrompt="1"/>
          </p:nvPr>
        </p:nvSpPr>
        <p:spPr>
          <a:xfrm>
            <a:off x="5207599"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98" name="Picture 97"/>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5775509" y="2370311"/>
            <a:ext cx="537625" cy="472590"/>
          </a:xfrm>
          <a:prstGeom prst="rect">
            <a:avLst/>
          </a:prstGeom>
        </p:spPr>
      </p:pic>
      <p:cxnSp>
        <p:nvCxnSpPr>
          <p:cNvPr id="118" name="Straight Connector 117"/>
          <p:cNvCxnSpPr/>
          <p:nvPr userDrawn="1"/>
        </p:nvCxnSpPr>
        <p:spPr>
          <a:xfrm>
            <a:off x="8017846"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9" name="Oval 118"/>
          <p:cNvSpPr/>
          <p:nvPr userDrawn="1"/>
        </p:nvSpPr>
        <p:spPr>
          <a:xfrm>
            <a:off x="7349783" y="1653167"/>
            <a:ext cx="1341345" cy="1341345"/>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0" name="TextBox 119"/>
          <p:cNvSpPr txBox="1"/>
          <p:nvPr userDrawn="1"/>
        </p:nvSpPr>
        <p:spPr>
          <a:xfrm>
            <a:off x="7584710" y="1661716"/>
            <a:ext cx="944840" cy="861774"/>
          </a:xfrm>
          <a:prstGeom prst="rect">
            <a:avLst/>
          </a:prstGeom>
          <a:noFill/>
        </p:spPr>
        <p:txBody>
          <a:bodyPr wrap="square" rtlCol="0">
            <a:spAutoFit/>
          </a:bodyPr>
          <a:lstStyle/>
          <a:p>
            <a:r>
              <a:rPr lang="en-US" sz="5000">
                <a:solidFill>
                  <a:schemeClr val="bg1"/>
                </a:solidFill>
              </a:rPr>
              <a:t>04</a:t>
            </a:r>
          </a:p>
        </p:txBody>
      </p:sp>
      <p:sp>
        <p:nvSpPr>
          <p:cNvPr id="122" name="Text Placeholder 4"/>
          <p:cNvSpPr>
            <a:spLocks noGrp="1"/>
          </p:cNvSpPr>
          <p:nvPr>
            <p:ph type="body" sz="quarter" idx="17" hasCustomPrompt="1"/>
          </p:nvPr>
        </p:nvSpPr>
        <p:spPr>
          <a:xfrm>
            <a:off x="7181123"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00" name="Picture 99"/>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801756" y="2406174"/>
            <a:ext cx="432179" cy="410414"/>
          </a:xfrm>
          <a:prstGeom prst="rect">
            <a:avLst/>
          </a:prstGeom>
        </p:spPr>
      </p:pic>
      <p:cxnSp>
        <p:nvCxnSpPr>
          <p:cNvPr id="124" name="Straight Connector 123"/>
          <p:cNvCxnSpPr/>
          <p:nvPr userDrawn="1"/>
        </p:nvCxnSpPr>
        <p:spPr>
          <a:xfrm>
            <a:off x="9988760" y="2960718"/>
            <a:ext cx="2609" cy="563880"/>
          </a:xfrm>
          <a:prstGeom prst="line">
            <a:avLst/>
          </a:prstGeom>
          <a:ln w="9525">
            <a:solidFill>
              <a:schemeClr val="tx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25" name="Oval 124"/>
          <p:cNvSpPr/>
          <p:nvPr userDrawn="1"/>
        </p:nvSpPr>
        <p:spPr>
          <a:xfrm>
            <a:off x="9320697" y="1653167"/>
            <a:ext cx="1341345" cy="1341345"/>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6" name="TextBox 125"/>
          <p:cNvSpPr txBox="1"/>
          <p:nvPr userDrawn="1"/>
        </p:nvSpPr>
        <p:spPr>
          <a:xfrm>
            <a:off x="9555624" y="1661716"/>
            <a:ext cx="944840" cy="861774"/>
          </a:xfrm>
          <a:prstGeom prst="rect">
            <a:avLst/>
          </a:prstGeom>
          <a:noFill/>
        </p:spPr>
        <p:txBody>
          <a:bodyPr wrap="square" rtlCol="0">
            <a:spAutoFit/>
          </a:bodyPr>
          <a:lstStyle/>
          <a:p>
            <a:r>
              <a:rPr lang="en-US" sz="5000">
                <a:solidFill>
                  <a:schemeClr val="bg1"/>
                </a:solidFill>
              </a:rPr>
              <a:t>05</a:t>
            </a:r>
          </a:p>
        </p:txBody>
      </p:sp>
      <p:sp>
        <p:nvSpPr>
          <p:cNvPr id="128" name="Text Placeholder 4"/>
          <p:cNvSpPr>
            <a:spLocks noGrp="1"/>
          </p:cNvSpPr>
          <p:nvPr>
            <p:ph type="body" sz="quarter" idx="18" hasCustomPrompt="1"/>
          </p:nvPr>
        </p:nvSpPr>
        <p:spPr>
          <a:xfrm>
            <a:off x="9152037" y="3954522"/>
            <a:ext cx="1677678" cy="1988672"/>
          </a:xfrm>
          <a:prstGeom prst="rect">
            <a:avLst/>
          </a:prstGeom>
        </p:spPr>
        <p:txBody>
          <a:bodyPr lIns="0" tIns="0" rIns="0" bIns="0"/>
          <a:lstStyle>
            <a:lvl1pPr marL="139700" indent="-139700">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p:txBody>
      </p:sp>
      <p:pic>
        <p:nvPicPr>
          <p:cNvPr id="130" name="Picture 129"/>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690669" y="2430632"/>
            <a:ext cx="596182" cy="340676"/>
          </a:xfrm>
          <a:prstGeom prst="rect">
            <a:avLst/>
          </a:prstGeom>
        </p:spPr>
      </p:pic>
      <p:sp>
        <p:nvSpPr>
          <p:cNvPr id="6" name="Text Placeholder 5"/>
          <p:cNvSpPr>
            <a:spLocks noGrp="1"/>
          </p:cNvSpPr>
          <p:nvPr>
            <p:ph type="body" sz="quarter" idx="24" hasCustomPrompt="1"/>
          </p:nvPr>
        </p:nvSpPr>
        <p:spPr>
          <a:xfrm>
            <a:off x="1232815" y="3524598"/>
            <a:ext cx="1672617" cy="396240"/>
          </a:xfrm>
          <a:prstGeom prst="rect">
            <a:avLst/>
          </a:prstGeom>
          <a:solidFill>
            <a:schemeClr val="bg2"/>
          </a:solidFill>
        </p:spPr>
        <p:txBody>
          <a:bodyPr anchor="ctr"/>
          <a:lstStyle>
            <a:lvl1pPr marL="0" indent="0" algn="ctr">
              <a:buNone/>
              <a:defRPr sz="1400">
                <a:solidFill>
                  <a:schemeClr val="bg1"/>
                </a:solidFill>
              </a:defRPr>
            </a:lvl1pPr>
          </a:lstStyle>
          <a:p>
            <a:pPr lvl="0"/>
            <a:r>
              <a:rPr lang="en-US"/>
              <a:t>RIGHT PEOPLE</a:t>
            </a:r>
          </a:p>
        </p:txBody>
      </p:sp>
      <p:sp>
        <p:nvSpPr>
          <p:cNvPr id="39" name="Text Placeholder 5"/>
          <p:cNvSpPr>
            <a:spLocks noGrp="1"/>
          </p:cNvSpPr>
          <p:nvPr>
            <p:ph type="body" sz="quarter" idx="25" hasCustomPrompt="1"/>
          </p:nvPr>
        </p:nvSpPr>
        <p:spPr>
          <a:xfrm>
            <a:off x="3215559" y="3524598"/>
            <a:ext cx="1672617" cy="396240"/>
          </a:xfrm>
          <a:prstGeom prst="rect">
            <a:avLst/>
          </a:prstGeom>
          <a:solidFill>
            <a:schemeClr val="accent1"/>
          </a:solidFill>
        </p:spPr>
        <p:txBody>
          <a:bodyPr anchor="ctr"/>
          <a:lstStyle>
            <a:lvl1pPr marL="0" indent="0" algn="ctr">
              <a:buNone/>
              <a:defRPr sz="1400">
                <a:solidFill>
                  <a:schemeClr val="bg1"/>
                </a:solidFill>
              </a:defRPr>
            </a:lvl1pPr>
          </a:lstStyle>
          <a:p>
            <a:pPr lvl="0"/>
            <a:r>
              <a:rPr lang="en-US"/>
              <a:t>RIGHT PLACE</a:t>
            </a:r>
          </a:p>
        </p:txBody>
      </p:sp>
      <p:sp>
        <p:nvSpPr>
          <p:cNvPr id="40" name="Text Placeholder 5"/>
          <p:cNvSpPr>
            <a:spLocks noGrp="1"/>
          </p:cNvSpPr>
          <p:nvPr>
            <p:ph type="body" sz="quarter" idx="26" hasCustomPrompt="1"/>
          </p:nvPr>
        </p:nvSpPr>
        <p:spPr>
          <a:xfrm>
            <a:off x="5208012" y="3524598"/>
            <a:ext cx="1672617" cy="396240"/>
          </a:xfrm>
          <a:prstGeom prst="rect">
            <a:avLst/>
          </a:prstGeom>
          <a:solidFill>
            <a:schemeClr val="accent2"/>
          </a:solidFill>
        </p:spPr>
        <p:txBody>
          <a:bodyPr anchor="ctr"/>
          <a:lstStyle>
            <a:lvl1pPr marL="0" indent="0" algn="ctr">
              <a:buNone/>
              <a:defRPr sz="1400">
                <a:solidFill>
                  <a:schemeClr val="bg1"/>
                </a:solidFill>
              </a:defRPr>
            </a:lvl1pPr>
          </a:lstStyle>
          <a:p>
            <a:pPr lvl="0"/>
            <a:r>
              <a:rPr lang="en-US"/>
              <a:t>RIGHT TIME</a:t>
            </a:r>
          </a:p>
        </p:txBody>
      </p:sp>
      <p:sp>
        <p:nvSpPr>
          <p:cNvPr id="41" name="Text Placeholder 5"/>
          <p:cNvSpPr>
            <a:spLocks noGrp="1"/>
          </p:cNvSpPr>
          <p:nvPr>
            <p:ph type="body" sz="quarter" idx="27" hasCustomPrompt="1"/>
          </p:nvPr>
        </p:nvSpPr>
        <p:spPr>
          <a:xfrm>
            <a:off x="7176317" y="3524598"/>
            <a:ext cx="1672617" cy="396240"/>
          </a:xfrm>
          <a:prstGeom prst="rect">
            <a:avLst/>
          </a:prstGeom>
          <a:solidFill>
            <a:schemeClr val="accent3"/>
          </a:solidFill>
        </p:spPr>
        <p:txBody>
          <a:bodyPr anchor="ctr"/>
          <a:lstStyle>
            <a:lvl1pPr marL="0" indent="0" algn="ctr">
              <a:buNone/>
              <a:defRPr sz="1400">
                <a:solidFill>
                  <a:schemeClr val="bg1"/>
                </a:solidFill>
              </a:defRPr>
            </a:lvl1pPr>
          </a:lstStyle>
          <a:p>
            <a:pPr lvl="0"/>
            <a:r>
              <a:rPr lang="en-US"/>
              <a:t>RIGHT RESULTS</a:t>
            </a:r>
          </a:p>
        </p:txBody>
      </p:sp>
      <p:sp>
        <p:nvSpPr>
          <p:cNvPr id="42" name="Text Placeholder 5"/>
          <p:cNvSpPr>
            <a:spLocks noGrp="1"/>
          </p:cNvSpPr>
          <p:nvPr>
            <p:ph type="body" sz="quarter" idx="28" hasCustomPrompt="1"/>
          </p:nvPr>
        </p:nvSpPr>
        <p:spPr>
          <a:xfrm>
            <a:off x="9144622" y="3524598"/>
            <a:ext cx="1672617" cy="396240"/>
          </a:xfrm>
          <a:prstGeom prst="rect">
            <a:avLst/>
          </a:prstGeom>
          <a:solidFill>
            <a:schemeClr val="accent5"/>
          </a:solidFill>
        </p:spPr>
        <p:txBody>
          <a:bodyPr anchor="ctr"/>
          <a:lstStyle>
            <a:lvl1pPr marL="0" indent="0" algn="ctr">
              <a:buNone/>
              <a:defRPr sz="1400">
                <a:solidFill>
                  <a:schemeClr val="bg1"/>
                </a:solidFill>
              </a:defRPr>
            </a:lvl1pPr>
          </a:lstStyle>
          <a:p>
            <a:pPr lvl="0"/>
            <a:r>
              <a:rPr lang="en-US"/>
              <a:t>RIGHT FUTURE</a:t>
            </a:r>
          </a:p>
        </p:txBody>
      </p:sp>
      <p:sp>
        <p:nvSpPr>
          <p:cNvPr id="37"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9. LLA Slide - 3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NUMBERED BOXES WITH TEXT/BULLET POINTS.</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3420110"/>
          </a:xfrm>
          <a:prstGeom prst="rect">
            <a:avLst/>
          </a:prstGeom>
          <a:solidFill>
            <a:schemeClr val="bg1">
              <a:lumMod val="95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br>
              <a:rPr lang="en-US"/>
            </a:br>
            <a:r>
              <a:rPr lang="en-US"/>
              <a:t>Lorem ipsum dolor sit </a:t>
            </a:r>
            <a:r>
              <a:rPr lang="en-US" err="1"/>
              <a:t>amet</a:t>
            </a:r>
            <a:r>
              <a:rPr lang="en-US"/>
              <a:t>, </a:t>
            </a:r>
            <a:r>
              <a:rPr lang="en-US" err="1"/>
              <a:t>nonumy</a:t>
            </a:r>
            <a:r>
              <a:rPr lang="en-US"/>
              <a:t> </a:t>
            </a:r>
            <a:br>
              <a:rPr lang="en-US"/>
            </a:b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endParaRPr lang="en-US"/>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19"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0. LLA Slide - 6 Numbered Boxes with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58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NUMBERED BOXES WITH TEXT.</a:t>
            </a:r>
          </a:p>
        </p:txBody>
      </p:sp>
      <p:sp>
        <p:nvSpPr>
          <p:cNvPr id="102"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103"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104"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5" name="Text Placeholder 4"/>
          <p:cNvSpPr>
            <a:spLocks noGrp="1"/>
          </p:cNvSpPr>
          <p:nvPr>
            <p:ph type="body" sz="quarter" idx="15" hasCustomPrompt="1"/>
          </p:nvPr>
        </p:nvSpPr>
        <p:spPr>
          <a:xfrm>
            <a:off x="1304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9" name="Text Placeholder 8"/>
          <p:cNvSpPr>
            <a:spLocks noGrp="1"/>
          </p:cNvSpPr>
          <p:nvPr>
            <p:ph type="body" sz="quarter" idx="16" hasCustomPrompt="1"/>
          </p:nvPr>
        </p:nvSpPr>
        <p:spPr>
          <a:xfrm>
            <a:off x="1073149" y="1933792"/>
            <a:ext cx="2968763" cy="323086"/>
          </a:xfrm>
          <a:prstGeom prst="rect">
            <a:avLst/>
          </a:prstGeom>
          <a:solidFill>
            <a:schemeClr val="bg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43" name="Oval 42"/>
          <p:cNvSpPr/>
          <p:nvPr userDrawn="1"/>
        </p:nvSpPr>
        <p:spPr>
          <a:xfrm>
            <a:off x="841881" y="1850814"/>
            <a:ext cx="462537" cy="462537"/>
          </a:xfrm>
          <a:prstGeom prst="ellipse">
            <a:avLst/>
          </a:prstGeom>
          <a:solidFill>
            <a:schemeClr val="bg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1" name="Text Placeholder 10"/>
          <p:cNvSpPr>
            <a:spLocks noGrp="1"/>
          </p:cNvSpPr>
          <p:nvPr>
            <p:ph type="body" sz="quarter" idx="17" hasCustomPrompt="1"/>
          </p:nvPr>
        </p:nvSpPr>
        <p:spPr>
          <a:xfrm>
            <a:off x="841881" y="1958328"/>
            <a:ext cx="462537" cy="276280"/>
          </a:xfrm>
          <a:prstGeom prst="rect">
            <a:avLst/>
          </a:prstGeom>
        </p:spPr>
        <p:txBody>
          <a:bodyPr anchor="ctr"/>
          <a:lstStyle>
            <a:lvl1pPr marL="0" indent="0" algn="ctr">
              <a:buNone/>
              <a:defRPr sz="2000" b="1">
                <a:solidFill>
                  <a:schemeClr val="bg1"/>
                </a:solidFill>
              </a:defRPr>
            </a:lvl1pPr>
          </a:lstStyle>
          <a:p>
            <a:pPr lvl="0"/>
            <a:r>
              <a:rPr lang="en-US"/>
              <a:t>1</a:t>
            </a:r>
          </a:p>
        </p:txBody>
      </p:sp>
      <p:sp>
        <p:nvSpPr>
          <p:cNvPr id="48" name="Text Placeholder 4"/>
          <p:cNvSpPr>
            <a:spLocks noGrp="1"/>
          </p:cNvSpPr>
          <p:nvPr>
            <p:ph type="body" sz="quarter" idx="18" hasCustomPrompt="1"/>
          </p:nvPr>
        </p:nvSpPr>
        <p:spPr>
          <a:xfrm>
            <a:off x="49239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49" name="Text Placeholder 8"/>
          <p:cNvSpPr>
            <a:spLocks noGrp="1"/>
          </p:cNvSpPr>
          <p:nvPr>
            <p:ph type="body" sz="quarter" idx="19" hasCustomPrompt="1"/>
          </p:nvPr>
        </p:nvSpPr>
        <p:spPr>
          <a:xfrm>
            <a:off x="4692649" y="1933792"/>
            <a:ext cx="2968763" cy="323086"/>
          </a:xfrm>
          <a:prstGeom prst="rect">
            <a:avLst/>
          </a:prstGeom>
          <a:solidFill>
            <a:schemeClr val="accent1"/>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0" name="Oval 49"/>
          <p:cNvSpPr/>
          <p:nvPr userDrawn="1"/>
        </p:nvSpPr>
        <p:spPr>
          <a:xfrm>
            <a:off x="4461381" y="1850814"/>
            <a:ext cx="462537" cy="462537"/>
          </a:xfrm>
          <a:prstGeom prst="ellipse">
            <a:avLst/>
          </a:prstGeom>
          <a:solidFill>
            <a:schemeClr val="accent1"/>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1" name="Text Placeholder 10"/>
          <p:cNvSpPr>
            <a:spLocks noGrp="1"/>
          </p:cNvSpPr>
          <p:nvPr>
            <p:ph type="body" sz="quarter" idx="20" hasCustomPrompt="1"/>
          </p:nvPr>
        </p:nvSpPr>
        <p:spPr>
          <a:xfrm>
            <a:off x="4461381" y="1958328"/>
            <a:ext cx="462537" cy="276280"/>
          </a:xfrm>
          <a:prstGeom prst="rect">
            <a:avLst/>
          </a:prstGeom>
        </p:spPr>
        <p:txBody>
          <a:bodyPr anchor="ctr"/>
          <a:lstStyle>
            <a:lvl1pPr marL="0" indent="0" algn="ctr">
              <a:buNone/>
              <a:defRPr sz="2000" b="1">
                <a:solidFill>
                  <a:schemeClr val="bg1"/>
                </a:solidFill>
              </a:defRPr>
            </a:lvl1pPr>
          </a:lstStyle>
          <a:p>
            <a:pPr lvl="0"/>
            <a:r>
              <a:rPr lang="en-US"/>
              <a:t>2</a:t>
            </a:r>
          </a:p>
        </p:txBody>
      </p:sp>
      <p:sp>
        <p:nvSpPr>
          <p:cNvPr id="54" name="Text Placeholder 4"/>
          <p:cNvSpPr>
            <a:spLocks noGrp="1"/>
          </p:cNvSpPr>
          <p:nvPr>
            <p:ph type="body" sz="quarter" idx="21" hasCustomPrompt="1"/>
          </p:nvPr>
        </p:nvSpPr>
        <p:spPr>
          <a:xfrm>
            <a:off x="8543418" y="23238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55" name="Text Placeholder 8"/>
          <p:cNvSpPr>
            <a:spLocks noGrp="1"/>
          </p:cNvSpPr>
          <p:nvPr>
            <p:ph type="body" sz="quarter" idx="22" hasCustomPrompt="1"/>
          </p:nvPr>
        </p:nvSpPr>
        <p:spPr>
          <a:xfrm>
            <a:off x="8312149" y="1933792"/>
            <a:ext cx="2968763" cy="323086"/>
          </a:xfrm>
          <a:prstGeom prst="rect">
            <a:avLst/>
          </a:prstGeom>
          <a:solidFill>
            <a:schemeClr val="accent2"/>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56" name="Oval 55"/>
          <p:cNvSpPr/>
          <p:nvPr userDrawn="1"/>
        </p:nvSpPr>
        <p:spPr>
          <a:xfrm>
            <a:off x="8080881" y="1850814"/>
            <a:ext cx="462537" cy="462537"/>
          </a:xfrm>
          <a:prstGeom prst="ellipse">
            <a:avLst/>
          </a:prstGeom>
          <a:solidFill>
            <a:schemeClr val="accent2"/>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57" name="Text Placeholder 10"/>
          <p:cNvSpPr>
            <a:spLocks noGrp="1"/>
          </p:cNvSpPr>
          <p:nvPr>
            <p:ph type="body" sz="quarter" idx="23" hasCustomPrompt="1"/>
          </p:nvPr>
        </p:nvSpPr>
        <p:spPr>
          <a:xfrm>
            <a:off x="8080881" y="1958328"/>
            <a:ext cx="462537" cy="276280"/>
          </a:xfrm>
          <a:prstGeom prst="rect">
            <a:avLst/>
          </a:prstGeom>
        </p:spPr>
        <p:txBody>
          <a:bodyPr anchor="ctr"/>
          <a:lstStyle>
            <a:lvl1pPr marL="0" indent="0" algn="ctr">
              <a:buNone/>
              <a:defRPr sz="2000" b="1">
                <a:solidFill>
                  <a:schemeClr val="bg1"/>
                </a:solidFill>
              </a:defRPr>
            </a:lvl1pPr>
          </a:lstStyle>
          <a:p>
            <a:pPr lvl="0"/>
            <a:r>
              <a:rPr lang="en-US"/>
              <a:t>3</a:t>
            </a:r>
          </a:p>
        </p:txBody>
      </p:sp>
      <p:sp>
        <p:nvSpPr>
          <p:cNvPr id="21" name="Text Placeholder 4"/>
          <p:cNvSpPr>
            <a:spLocks noGrp="1"/>
          </p:cNvSpPr>
          <p:nvPr>
            <p:ph type="body" sz="quarter" idx="24" hasCustomPrompt="1"/>
          </p:nvPr>
        </p:nvSpPr>
        <p:spPr>
          <a:xfrm>
            <a:off x="1304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baseline="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a:t>
            </a:r>
            <a:endParaRPr lang="en-US"/>
          </a:p>
        </p:txBody>
      </p:sp>
      <p:sp>
        <p:nvSpPr>
          <p:cNvPr id="22" name="Text Placeholder 8"/>
          <p:cNvSpPr>
            <a:spLocks noGrp="1"/>
          </p:cNvSpPr>
          <p:nvPr>
            <p:ph type="body" sz="quarter" idx="25" hasCustomPrompt="1"/>
          </p:nvPr>
        </p:nvSpPr>
        <p:spPr>
          <a:xfrm>
            <a:off x="1073149" y="4168992"/>
            <a:ext cx="2968763" cy="323086"/>
          </a:xfrm>
          <a:prstGeom prst="rect">
            <a:avLst/>
          </a:prstGeom>
          <a:solidFill>
            <a:schemeClr val="accent3"/>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3" name="Oval 22"/>
          <p:cNvSpPr/>
          <p:nvPr userDrawn="1"/>
        </p:nvSpPr>
        <p:spPr>
          <a:xfrm>
            <a:off x="841881" y="4086014"/>
            <a:ext cx="462537" cy="462537"/>
          </a:xfrm>
          <a:prstGeom prst="ellipse">
            <a:avLst/>
          </a:prstGeom>
          <a:solidFill>
            <a:schemeClr val="accent3"/>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4" name="Text Placeholder 10"/>
          <p:cNvSpPr>
            <a:spLocks noGrp="1"/>
          </p:cNvSpPr>
          <p:nvPr>
            <p:ph type="body" sz="quarter" idx="26" hasCustomPrompt="1"/>
          </p:nvPr>
        </p:nvSpPr>
        <p:spPr>
          <a:xfrm>
            <a:off x="841881" y="4193528"/>
            <a:ext cx="462537" cy="276280"/>
          </a:xfrm>
          <a:prstGeom prst="rect">
            <a:avLst/>
          </a:prstGeom>
        </p:spPr>
        <p:txBody>
          <a:bodyPr anchor="ctr"/>
          <a:lstStyle>
            <a:lvl1pPr marL="0" indent="0" algn="ctr">
              <a:buNone/>
              <a:defRPr sz="2000" b="1">
                <a:solidFill>
                  <a:schemeClr val="bg1"/>
                </a:solidFill>
              </a:defRPr>
            </a:lvl1pPr>
          </a:lstStyle>
          <a:p>
            <a:pPr lvl="0"/>
            <a:r>
              <a:rPr lang="en-US"/>
              <a:t>4</a:t>
            </a:r>
          </a:p>
        </p:txBody>
      </p:sp>
      <p:sp>
        <p:nvSpPr>
          <p:cNvPr id="25" name="Text Placeholder 4"/>
          <p:cNvSpPr>
            <a:spLocks noGrp="1"/>
          </p:cNvSpPr>
          <p:nvPr>
            <p:ph type="body" sz="quarter" idx="27" hasCustomPrompt="1"/>
          </p:nvPr>
        </p:nvSpPr>
        <p:spPr>
          <a:xfrm>
            <a:off x="49239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a:t>
            </a:r>
          </a:p>
        </p:txBody>
      </p:sp>
      <p:sp>
        <p:nvSpPr>
          <p:cNvPr id="26" name="Text Placeholder 8"/>
          <p:cNvSpPr>
            <a:spLocks noGrp="1"/>
          </p:cNvSpPr>
          <p:nvPr>
            <p:ph type="body" sz="quarter" idx="28" hasCustomPrompt="1"/>
          </p:nvPr>
        </p:nvSpPr>
        <p:spPr>
          <a:xfrm>
            <a:off x="4692649" y="4168992"/>
            <a:ext cx="2968763" cy="323086"/>
          </a:xfrm>
          <a:prstGeom prst="rect">
            <a:avLst/>
          </a:prstGeom>
          <a:solidFill>
            <a:schemeClr val="accent5"/>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27" name="Oval 26"/>
          <p:cNvSpPr/>
          <p:nvPr userDrawn="1"/>
        </p:nvSpPr>
        <p:spPr>
          <a:xfrm>
            <a:off x="4461381" y="4086014"/>
            <a:ext cx="462537" cy="462537"/>
          </a:xfrm>
          <a:prstGeom prst="ellipse">
            <a:avLst/>
          </a:prstGeom>
          <a:solidFill>
            <a:schemeClr val="accent5"/>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28" name="Text Placeholder 10"/>
          <p:cNvSpPr>
            <a:spLocks noGrp="1"/>
          </p:cNvSpPr>
          <p:nvPr>
            <p:ph type="body" sz="quarter" idx="29" hasCustomPrompt="1"/>
          </p:nvPr>
        </p:nvSpPr>
        <p:spPr>
          <a:xfrm>
            <a:off x="4461381" y="4193528"/>
            <a:ext cx="462537" cy="276280"/>
          </a:xfrm>
          <a:prstGeom prst="rect">
            <a:avLst/>
          </a:prstGeom>
        </p:spPr>
        <p:txBody>
          <a:bodyPr anchor="ctr"/>
          <a:lstStyle>
            <a:lvl1pPr marL="0" indent="0" algn="ctr">
              <a:buNone/>
              <a:defRPr sz="2000" b="1">
                <a:solidFill>
                  <a:schemeClr val="bg1"/>
                </a:solidFill>
              </a:defRPr>
            </a:lvl1pPr>
          </a:lstStyle>
          <a:p>
            <a:pPr lvl="0"/>
            <a:r>
              <a:rPr lang="en-US"/>
              <a:t>5</a:t>
            </a:r>
          </a:p>
        </p:txBody>
      </p:sp>
      <p:sp>
        <p:nvSpPr>
          <p:cNvPr id="29" name="Text Placeholder 4"/>
          <p:cNvSpPr>
            <a:spLocks noGrp="1"/>
          </p:cNvSpPr>
          <p:nvPr>
            <p:ph type="body" sz="quarter" idx="30" hasCustomPrompt="1"/>
          </p:nvPr>
        </p:nvSpPr>
        <p:spPr>
          <a:xfrm>
            <a:off x="8543418" y="4559039"/>
            <a:ext cx="2737494" cy="1333761"/>
          </a:xfrm>
          <a:prstGeom prst="rect">
            <a:avLst/>
          </a:prstGeom>
          <a:solidFill>
            <a:schemeClr val="accent6">
              <a:lumMod val="20000"/>
              <a:lumOff val="80000"/>
            </a:schemeClr>
          </a:solidFill>
          <a:effectLst>
            <a:outerShdw blurRad="50800" dist="76200" dir="5400000" algn="t" rotWithShape="0">
              <a:prstClr val="black">
                <a:alpha val="40000"/>
              </a:prstClr>
            </a:outerShdw>
          </a:effectLst>
        </p:spPr>
        <p:txBody>
          <a:bodyPr/>
          <a:lstStyle>
            <a:lvl1pPr marL="0" indent="0">
              <a:buNone/>
              <a:defRPr sz="1000">
                <a:solidFill>
                  <a:schemeClr val="tx1"/>
                </a:solidFill>
              </a:defRPr>
            </a:lvl1pPr>
            <a:lvl2pPr>
              <a:defRPr sz="1200"/>
            </a:lvl2pPr>
            <a:lvl3pPr>
              <a:defRPr sz="1200"/>
            </a:lvl3pPr>
            <a:lvl4pPr>
              <a:defRPr sz="1200"/>
            </a:lvl4pPr>
            <a:lvl5pPr>
              <a:defRPr sz="1200"/>
            </a:lvl5pPr>
          </a:lstStyle>
          <a:p>
            <a:pPr lvl="0"/>
            <a:r>
              <a:rPr lang="en-US"/>
              <a:t>Intro description text. Grey. 10PT. </a:t>
            </a:r>
            <a:br>
              <a:rPr lang="en-US"/>
            </a:br>
            <a:r>
              <a:rPr lang="en-US"/>
              <a:t>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 </a:t>
            </a:r>
            <a:r>
              <a:rPr lang="en-US" err="1"/>
              <a:t>ea</a:t>
            </a:r>
            <a:r>
              <a:rPr lang="en-US"/>
              <a:t> duo. Mea </a:t>
            </a:r>
            <a:r>
              <a:rPr lang="en-US" err="1"/>
              <a:t>appareat</a:t>
            </a:r>
            <a:r>
              <a:rPr lang="en-US"/>
              <a:t> </a:t>
            </a:r>
            <a:r>
              <a:rPr lang="en-US" err="1"/>
              <a:t>ocurreret</a:t>
            </a:r>
            <a:r>
              <a:rPr lang="en-US"/>
              <a:t> </a:t>
            </a:r>
            <a:r>
              <a:rPr lang="en-US" err="1"/>
              <a:t>vertitur</a:t>
            </a:r>
            <a:r>
              <a:rPr lang="en-US"/>
              <a:t> et, </a:t>
            </a:r>
            <a:r>
              <a:rPr lang="en-US" err="1"/>
              <a:t>eum</a:t>
            </a:r>
            <a:r>
              <a:rPr lang="en-US"/>
              <a:t> et </a:t>
            </a:r>
            <a:r>
              <a:rPr lang="en-US" err="1"/>
              <a:t>aeque</a:t>
            </a:r>
            <a:r>
              <a:rPr lang="en-US"/>
              <a:t> </a:t>
            </a:r>
            <a:r>
              <a:rPr lang="en-US" err="1"/>
              <a:t>quidam</a:t>
            </a:r>
            <a:r>
              <a:rPr lang="en-US"/>
              <a:t> </a:t>
            </a:r>
            <a:r>
              <a:rPr lang="en-US" err="1"/>
              <a:t>mollis</a:t>
            </a:r>
            <a:r>
              <a:rPr lang="en-US"/>
              <a:t>. An </a:t>
            </a:r>
            <a:r>
              <a:rPr lang="en-US" err="1"/>
              <a:t>vidit</a:t>
            </a:r>
            <a:r>
              <a:rPr lang="en-US"/>
              <a:t> </a:t>
            </a:r>
            <a:r>
              <a:rPr lang="en-US" err="1"/>
              <a:t>putent</a:t>
            </a:r>
            <a:r>
              <a:rPr lang="en-US"/>
              <a:t> </a:t>
            </a:r>
            <a:r>
              <a:rPr lang="en-US" err="1"/>
              <a:t>docendi</a:t>
            </a:r>
            <a:r>
              <a:rPr lang="en-US"/>
              <a:t> vim, duo at </a:t>
            </a:r>
            <a:r>
              <a:rPr lang="en-US" err="1"/>
              <a:t>essent</a:t>
            </a:r>
            <a:r>
              <a:rPr lang="en-US"/>
              <a:t> </a:t>
            </a:r>
            <a:r>
              <a:rPr lang="en-US" err="1"/>
              <a:t>electram</a:t>
            </a:r>
            <a:r>
              <a:rPr lang="en-US"/>
              <a:t>. Lorem ipsum dolor sit </a:t>
            </a:r>
            <a:r>
              <a:rPr lang="en-US" err="1"/>
              <a:t>amet</a:t>
            </a:r>
            <a:r>
              <a:rPr lang="en-US"/>
              <a:t>, </a:t>
            </a:r>
            <a:r>
              <a:rPr lang="en-US" err="1"/>
              <a:t>nonumy</a:t>
            </a:r>
            <a:r>
              <a:rPr lang="en-US"/>
              <a:t> </a:t>
            </a:r>
            <a:r>
              <a:rPr lang="en-US" err="1"/>
              <a:t>mucius</a:t>
            </a:r>
            <a:r>
              <a:rPr lang="en-US"/>
              <a:t> </a:t>
            </a:r>
            <a:r>
              <a:rPr lang="en-US" err="1"/>
              <a:t>dissentiunt</a:t>
            </a:r>
            <a:r>
              <a:rPr lang="en-US"/>
              <a:t> </a:t>
            </a:r>
            <a:r>
              <a:rPr lang="en-US" err="1"/>
              <a:t>mei</a:t>
            </a:r>
            <a:r>
              <a:rPr lang="en-US"/>
              <a:t> ad. Magna </a:t>
            </a:r>
            <a:r>
              <a:rPr lang="en-US" err="1"/>
              <a:t>omnes</a:t>
            </a:r>
            <a:r>
              <a:rPr lang="en-US"/>
              <a:t> </a:t>
            </a:r>
            <a:r>
              <a:rPr lang="en-US" err="1"/>
              <a:t>saperet</a:t>
            </a:r>
            <a:r>
              <a:rPr lang="en-US"/>
              <a:t>.</a:t>
            </a:r>
          </a:p>
        </p:txBody>
      </p:sp>
      <p:sp>
        <p:nvSpPr>
          <p:cNvPr id="30" name="Text Placeholder 8"/>
          <p:cNvSpPr>
            <a:spLocks noGrp="1"/>
          </p:cNvSpPr>
          <p:nvPr>
            <p:ph type="body" sz="quarter" idx="31" hasCustomPrompt="1"/>
          </p:nvPr>
        </p:nvSpPr>
        <p:spPr>
          <a:xfrm>
            <a:off x="8312149" y="4168992"/>
            <a:ext cx="2968763" cy="323086"/>
          </a:xfrm>
          <a:prstGeom prst="rect">
            <a:avLst/>
          </a:prstGeom>
          <a:solidFill>
            <a:srgbClr val="FFC000"/>
          </a:solidFill>
        </p:spPr>
        <p:txBody>
          <a:bodyPr lIns="324000" anchor="ctr"/>
          <a:lstStyle>
            <a:lvl1pPr marL="0" indent="0">
              <a:buNone/>
              <a:defRPr sz="1400" baseline="0">
                <a:solidFill>
                  <a:schemeClr val="bg1"/>
                </a:solidFill>
              </a:defRPr>
            </a:lvl1pPr>
          </a:lstStyle>
          <a:p>
            <a:pPr lvl="0"/>
            <a:r>
              <a:rPr lang="en-US"/>
              <a:t>HEADING. WHITE. U/C. 14PT</a:t>
            </a:r>
          </a:p>
        </p:txBody>
      </p:sp>
      <p:sp>
        <p:nvSpPr>
          <p:cNvPr id="31" name="Oval 30"/>
          <p:cNvSpPr/>
          <p:nvPr userDrawn="1"/>
        </p:nvSpPr>
        <p:spPr>
          <a:xfrm>
            <a:off x="8080881" y="4086014"/>
            <a:ext cx="462537" cy="462537"/>
          </a:xfrm>
          <a:prstGeom prst="ellipse">
            <a:avLst/>
          </a:prstGeom>
          <a:solidFill>
            <a:srgbClr val="FFC000"/>
          </a:solidFill>
          <a:ln>
            <a:noFill/>
          </a:ln>
          <a:effectLst>
            <a:outerShdw blurRad="50800" dist="762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2" name="Text Placeholder 10"/>
          <p:cNvSpPr>
            <a:spLocks noGrp="1"/>
          </p:cNvSpPr>
          <p:nvPr>
            <p:ph type="body" sz="quarter" idx="32" hasCustomPrompt="1"/>
          </p:nvPr>
        </p:nvSpPr>
        <p:spPr>
          <a:xfrm>
            <a:off x="8080881" y="4193528"/>
            <a:ext cx="462537" cy="276280"/>
          </a:xfrm>
          <a:prstGeom prst="rect">
            <a:avLst/>
          </a:prstGeom>
        </p:spPr>
        <p:txBody>
          <a:bodyPr anchor="ctr"/>
          <a:lstStyle>
            <a:lvl1pPr marL="0" indent="0" algn="ctr">
              <a:buNone/>
              <a:defRPr sz="2000" b="1">
                <a:solidFill>
                  <a:schemeClr val="bg1"/>
                </a:solidFill>
              </a:defRPr>
            </a:lvl1pPr>
          </a:lstStyle>
          <a:p>
            <a:pPr lvl="0"/>
            <a:r>
              <a:rPr lang="en-US"/>
              <a:t>6</a:t>
            </a:r>
          </a:p>
        </p:txBody>
      </p:sp>
      <p:sp>
        <p:nvSpPr>
          <p:cNvPr id="3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1. LLA Slide - Intro Text, Bullets and One Chart">
    <p:spTree>
      <p:nvGrpSpPr>
        <p:cNvPr id="1" name=""/>
        <p:cNvGrpSpPr/>
        <p:nvPr/>
      </p:nvGrpSpPr>
      <p:grpSpPr>
        <a:xfrm>
          <a:off x="0" y="0"/>
          <a:ext cx="0" cy="0"/>
          <a:chOff x="0" y="0"/>
          <a:chExt cx="0" cy="0"/>
        </a:xfrm>
      </p:grpSpPr>
      <p:sp>
        <p:nvSpPr>
          <p:cNvPr id="5" name="Chart Placeholder 4"/>
          <p:cNvSpPr>
            <a:spLocks noGrp="1"/>
          </p:cNvSpPr>
          <p:nvPr>
            <p:ph type="chart" sz="quarter" idx="13" hasCustomPrompt="1"/>
          </p:nvPr>
        </p:nvSpPr>
        <p:spPr>
          <a:xfrm>
            <a:off x="7548877" y="1568107"/>
            <a:ext cx="4324035" cy="4411663"/>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 name="Title 1"/>
          <p:cNvSpPr>
            <a:spLocks noGrp="1"/>
          </p:cNvSpPr>
          <p:nvPr>
            <p:ph type="ctrTitle" hasCustomPrompt="1"/>
          </p:nvPr>
        </p:nvSpPr>
        <p:spPr>
          <a:xfrm>
            <a:off x="311873" y="207732"/>
            <a:ext cx="9966660" cy="620334"/>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ONE GRAPH/CHART AND TEXT</a:t>
            </a:r>
          </a:p>
        </p:txBody>
      </p:sp>
      <p:sp>
        <p:nvSpPr>
          <p:cNvPr id="44" name="Text Placeholder 4"/>
          <p:cNvSpPr>
            <a:spLocks noGrp="1"/>
          </p:cNvSpPr>
          <p:nvPr>
            <p:ph type="body" sz="quarter" idx="10" hasCustomPrompt="1"/>
          </p:nvPr>
        </p:nvSpPr>
        <p:spPr>
          <a:xfrm>
            <a:off x="725214" y="1553302"/>
            <a:ext cx="6515058" cy="700289"/>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8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This slide is designed to be used when you only have a small intro paragraph and bullet points. 18PT</a:t>
            </a:r>
          </a:p>
        </p:txBody>
      </p:sp>
      <p:sp>
        <p:nvSpPr>
          <p:cNvPr id="46" name="Text Placeholder 10"/>
          <p:cNvSpPr>
            <a:spLocks noGrp="1"/>
          </p:cNvSpPr>
          <p:nvPr>
            <p:ph type="body" sz="quarter" idx="12" hasCustomPrompt="1"/>
          </p:nvPr>
        </p:nvSpPr>
        <p:spPr>
          <a:xfrm>
            <a:off x="725214" y="2332847"/>
            <a:ext cx="6513786" cy="3646923"/>
          </a:xfrm>
          <a:prstGeom prst="rect">
            <a:avLst/>
          </a:prstGeom>
        </p:spPr>
        <p:txBody>
          <a:bodyPr lIns="0" tIns="0" rIns="0" bIns="0"/>
          <a:lstStyle>
            <a:lvl1pPr marL="134938" indent="-134938">
              <a:tabLst/>
              <a:defRPr sz="1400" baseline="0"/>
            </a:lvl1pPr>
            <a:lvl2pPr marL="314325" indent="-136525">
              <a:tabLst/>
              <a:defRPr sz="1200" baseline="0"/>
            </a:lvl2pPr>
            <a:lvl3pPr marL="450850" indent="-136525">
              <a:tabLst/>
              <a:defRPr sz="1000" baseline="0"/>
            </a:lvl3pPr>
            <a:lvl4pPr>
              <a:defRPr sz="1600"/>
            </a:lvl4pPr>
            <a:lvl5pPr>
              <a:defRPr sz="1600"/>
            </a:lvl5pPr>
          </a:lstStyle>
          <a:p>
            <a:pPr lvl="0"/>
            <a:r>
              <a:rPr lang="en-US"/>
              <a:t>Click to edit Master text styles. 14PT</a:t>
            </a:r>
          </a:p>
          <a:p>
            <a:pPr lvl="1"/>
            <a:r>
              <a:rPr lang="en-US"/>
              <a:t>Second level. 12PT</a:t>
            </a:r>
          </a:p>
          <a:p>
            <a:pPr lvl="2"/>
            <a:r>
              <a:rPr lang="en-US"/>
              <a:t>Third level. 10PT</a:t>
            </a:r>
          </a:p>
        </p:txBody>
      </p:sp>
      <p:sp>
        <p:nvSpPr>
          <p:cNvPr id="49"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7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7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10"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3. LLA Slide - 2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19688"/>
            <a:ext cx="9966660" cy="623182"/>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WO GRAPHS/CHARTS AND TEXT</a:t>
            </a:r>
          </a:p>
        </p:txBody>
      </p:sp>
      <p:sp>
        <p:nvSpPr>
          <p:cNvPr id="33"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4"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5"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36" name="Chart Placeholder 4"/>
          <p:cNvSpPr>
            <a:spLocks noGrp="1"/>
          </p:cNvSpPr>
          <p:nvPr>
            <p:ph type="chart" sz="quarter" idx="13" hasCustomPrompt="1"/>
          </p:nvPr>
        </p:nvSpPr>
        <p:spPr>
          <a:xfrm>
            <a:off x="725214"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0" name="Text Placeholder 4"/>
          <p:cNvSpPr>
            <a:spLocks noGrp="1"/>
          </p:cNvSpPr>
          <p:nvPr>
            <p:ph type="body" sz="quarter" idx="14" hasCustomPrompt="1"/>
          </p:nvPr>
        </p:nvSpPr>
        <p:spPr>
          <a:xfrm>
            <a:off x="725213"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1" name="Text Placeholder 4"/>
          <p:cNvSpPr>
            <a:spLocks noGrp="1"/>
          </p:cNvSpPr>
          <p:nvPr>
            <p:ph type="body" sz="quarter" idx="10" hasCustomPrompt="1"/>
          </p:nvPr>
        </p:nvSpPr>
        <p:spPr>
          <a:xfrm>
            <a:off x="725214"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45" name="Chart Placeholder 4"/>
          <p:cNvSpPr>
            <a:spLocks noGrp="1"/>
          </p:cNvSpPr>
          <p:nvPr>
            <p:ph type="chart" sz="quarter" idx="15" hasCustomPrompt="1"/>
          </p:nvPr>
        </p:nvSpPr>
        <p:spPr>
          <a:xfrm>
            <a:off x="6198550" y="1876657"/>
            <a:ext cx="5116786"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6" name="Text Placeholder 4"/>
          <p:cNvSpPr>
            <a:spLocks noGrp="1"/>
          </p:cNvSpPr>
          <p:nvPr>
            <p:ph type="body" sz="quarter" idx="16" hasCustomPrompt="1"/>
          </p:nvPr>
        </p:nvSpPr>
        <p:spPr>
          <a:xfrm>
            <a:off x="6198549" y="4526969"/>
            <a:ext cx="5116787"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no.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r>
              <a:rPr lang="en-US" err="1"/>
              <a:t>similique</a:t>
            </a:r>
            <a:r>
              <a:rPr lang="en-US"/>
              <a:t>, </a:t>
            </a:r>
            <a:r>
              <a:rPr lang="en-US" err="1"/>
              <a:t>eum</a:t>
            </a:r>
            <a:r>
              <a:rPr lang="en-US"/>
              <a:t> </a:t>
            </a:r>
            <a:r>
              <a:rPr lang="en-US" err="1"/>
              <a:t>illud</a:t>
            </a:r>
            <a:r>
              <a:rPr lang="en-US"/>
              <a:t> </a:t>
            </a:r>
          </a:p>
          <a:p>
            <a:pPr lvl="0"/>
            <a:r>
              <a:rPr lang="en-US" err="1"/>
              <a:t>Aelicata</a:t>
            </a:r>
            <a:r>
              <a:rPr lang="en-US"/>
              <a:t> cu. No cum </a:t>
            </a:r>
            <a:r>
              <a:rPr lang="en-US" err="1"/>
              <a:t>vocent</a:t>
            </a:r>
            <a:r>
              <a:rPr lang="en-US"/>
              <a:t> </a:t>
            </a:r>
            <a:r>
              <a:rPr lang="en-US" err="1"/>
              <a:t>convenire</a:t>
            </a:r>
            <a:r>
              <a:rPr lang="en-US"/>
              <a:t>, per cu </a:t>
            </a:r>
            <a:r>
              <a:rPr lang="en-US" err="1"/>
              <a:t>duis</a:t>
            </a:r>
            <a:r>
              <a:rPr lang="en-US"/>
              <a:t> </a:t>
            </a:r>
            <a:r>
              <a:rPr lang="en-US" err="1"/>
              <a:t>tempor</a:t>
            </a:r>
            <a:r>
              <a:rPr lang="en-US"/>
              <a:t> </a:t>
            </a:r>
            <a:r>
              <a:rPr lang="en-US" err="1"/>
              <a:t>ponderum</a:t>
            </a:r>
            <a:endParaRPr lang="en-US"/>
          </a:p>
          <a:p>
            <a:pPr lvl="0"/>
            <a:endParaRPr lang="en-US"/>
          </a:p>
        </p:txBody>
      </p:sp>
      <p:sp>
        <p:nvSpPr>
          <p:cNvPr id="47" name="Text Placeholder 4"/>
          <p:cNvSpPr>
            <a:spLocks noGrp="1"/>
          </p:cNvSpPr>
          <p:nvPr>
            <p:ph type="body" sz="quarter" idx="17" hasCustomPrompt="1"/>
          </p:nvPr>
        </p:nvSpPr>
        <p:spPr>
          <a:xfrm>
            <a:off x="6198550" y="1553303"/>
            <a:ext cx="5116786"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GRAPH HEADING. UPPERCASE ONLY. GREY. 12PT</a:t>
            </a:r>
          </a:p>
        </p:txBody>
      </p:sp>
      <p:sp>
        <p:nvSpPr>
          <p:cNvPr id="1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4. LLA Slide - 3 Charts and Text/Bulle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HREE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1" name="Text Placeholder 4"/>
          <p:cNvSpPr>
            <a:spLocks noGrp="1"/>
          </p:cNvSpPr>
          <p:nvPr>
            <p:ph type="body" sz="quarter" idx="14" hasCustomPrompt="1"/>
          </p:nvPr>
        </p:nvSpPr>
        <p:spPr>
          <a:xfrm>
            <a:off x="72521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7" name="Text Placeholder 4"/>
          <p:cNvSpPr>
            <a:spLocks noGrp="1"/>
          </p:cNvSpPr>
          <p:nvPr>
            <p:ph type="body" sz="quarter" idx="16" hasCustomPrompt="1"/>
          </p:nvPr>
        </p:nvSpPr>
        <p:spPr>
          <a:xfrm>
            <a:off x="4379233"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254843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4" name="Text Placeholder 4"/>
          <p:cNvSpPr>
            <a:spLocks noGrp="1"/>
          </p:cNvSpPr>
          <p:nvPr>
            <p:ph type="body" sz="quarter" idx="19" hasCustomPrompt="1"/>
          </p:nvPr>
        </p:nvSpPr>
        <p:spPr>
          <a:xfrm>
            <a:off x="8046319" y="4526969"/>
            <a:ext cx="3180581" cy="1298574"/>
          </a:xfrm>
          <a:prstGeom prst="rect">
            <a:avLst/>
          </a:prstGeom>
        </p:spPr>
        <p:txBody>
          <a:bodyPr lIns="0" tIns="0" rIns="0" bIns="0"/>
          <a:lstStyle>
            <a:lvl1pPr marL="139700" indent="-139700">
              <a:lnSpc>
                <a:spcPct val="100000"/>
              </a:lnSpc>
              <a:spcBef>
                <a:spcPts val="0"/>
              </a:spcBef>
              <a:tabLst/>
              <a:defRPr sz="1000">
                <a:solidFill>
                  <a:schemeClr val="tx1"/>
                </a:solidFill>
              </a:defRPr>
            </a:lvl1pPr>
          </a:lstStyle>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a:t>
            </a:r>
          </a:p>
          <a:p>
            <a:pPr lvl="0"/>
            <a:r>
              <a:rPr lang="en-US"/>
              <a:t>Ad vim </a:t>
            </a:r>
            <a:r>
              <a:rPr lang="en-US" err="1"/>
              <a:t>noster</a:t>
            </a:r>
            <a:r>
              <a:rPr lang="en-US"/>
              <a:t> </a:t>
            </a:r>
            <a:r>
              <a:rPr lang="en-US" err="1"/>
              <a:t>audiam</a:t>
            </a:r>
            <a:r>
              <a:rPr lang="en-US"/>
              <a:t> </a:t>
            </a:r>
            <a:r>
              <a:rPr lang="en-US" err="1"/>
              <a:t>nostrud</a:t>
            </a:r>
            <a:r>
              <a:rPr lang="en-US"/>
              <a:t>, </a:t>
            </a:r>
            <a:r>
              <a:rPr lang="en-US" err="1"/>
              <a:t>ea</a:t>
            </a:r>
            <a:r>
              <a:rPr lang="en-US"/>
              <a:t> cum </a:t>
            </a:r>
            <a:r>
              <a:rPr lang="en-US" err="1"/>
              <a:t>iusto</a:t>
            </a:r>
            <a:r>
              <a:rPr lang="en-US"/>
              <a:t> partem </a:t>
            </a:r>
          </a:p>
          <a:p>
            <a:pPr lvl="0"/>
            <a:r>
              <a:rPr lang="en-US" err="1"/>
              <a:t>Te</a:t>
            </a:r>
            <a:r>
              <a:rPr lang="en-US"/>
              <a:t> </a:t>
            </a:r>
            <a:r>
              <a:rPr lang="en-US" err="1"/>
              <a:t>offendit</a:t>
            </a:r>
            <a:r>
              <a:rPr lang="en-US"/>
              <a:t> </a:t>
            </a:r>
            <a:r>
              <a:rPr lang="en-US" err="1"/>
              <a:t>consetetur</a:t>
            </a:r>
            <a:r>
              <a:rPr lang="en-US"/>
              <a:t> </a:t>
            </a:r>
            <a:r>
              <a:rPr lang="en-US" err="1"/>
              <a:t>ius</a:t>
            </a:r>
            <a:r>
              <a:rPr lang="en-US"/>
              <a:t>. </a:t>
            </a:r>
            <a:r>
              <a:rPr lang="en-US" err="1"/>
              <a:t>Sed</a:t>
            </a:r>
            <a:r>
              <a:rPr lang="en-US"/>
              <a:t> ne alia dicit </a:t>
            </a:r>
            <a:r>
              <a:rPr lang="en-US" err="1"/>
              <a:t>albucius</a:t>
            </a:r>
            <a:endParaRPr lang="en-US"/>
          </a:p>
          <a:p>
            <a:pPr lvl="0"/>
            <a:r>
              <a:rPr lang="en-US"/>
              <a:t>An nihil </a:t>
            </a:r>
            <a:r>
              <a:rPr lang="en-US" err="1"/>
              <a:t>ancillae</a:t>
            </a:r>
            <a:r>
              <a:rPr lang="en-US"/>
              <a:t> vis, </a:t>
            </a:r>
            <a:r>
              <a:rPr lang="en-US" err="1"/>
              <a:t>possim</a:t>
            </a:r>
            <a:r>
              <a:rPr lang="en-US"/>
              <a:t> </a:t>
            </a:r>
            <a:r>
              <a:rPr lang="en-US" err="1"/>
              <a:t>prompta</a:t>
            </a:r>
            <a:r>
              <a:rPr lang="en-US"/>
              <a:t> </a:t>
            </a:r>
            <a:r>
              <a:rPr lang="en-US" err="1"/>
              <a:t>imperdiet</a:t>
            </a:r>
            <a:r>
              <a:rPr lang="en-US"/>
              <a:t> qui </a:t>
            </a:r>
          </a:p>
          <a:p>
            <a:pPr lvl="0"/>
            <a:r>
              <a:rPr lang="en-US"/>
              <a:t>Ad vim </a:t>
            </a:r>
            <a:r>
              <a:rPr lang="en-US" err="1"/>
              <a:t>noster</a:t>
            </a:r>
            <a:r>
              <a:rPr lang="en-US"/>
              <a:t> </a:t>
            </a:r>
            <a:r>
              <a:rPr lang="en-US" err="1"/>
              <a:t>audiam</a:t>
            </a:r>
            <a:r>
              <a:rPr lang="en-US"/>
              <a:t> </a:t>
            </a:r>
            <a:r>
              <a:rPr lang="en-US" err="1"/>
              <a:t>nostrud</a:t>
            </a:r>
            <a:endParaRPr lang="en-US"/>
          </a:p>
          <a:p>
            <a:pPr lvl="0"/>
            <a:r>
              <a:rPr lang="en-US" err="1"/>
              <a:t>Aelicata</a:t>
            </a:r>
            <a:r>
              <a:rPr lang="en-US"/>
              <a:t> cu. No cum </a:t>
            </a:r>
            <a:r>
              <a:rPr lang="en-US" err="1"/>
              <a:t>vocent</a:t>
            </a:r>
            <a:r>
              <a:rPr lang="en-US"/>
              <a:t> </a:t>
            </a:r>
            <a:r>
              <a:rPr lang="en-US" err="1"/>
              <a:t>convenire</a:t>
            </a:r>
            <a:endParaRPr lang="en-US"/>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6"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5. LLA Slide - 6 Chart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3513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SIX GRAPHS/CHARTS AND TEXT</a:t>
            </a:r>
          </a:p>
        </p:txBody>
      </p:sp>
      <p:sp>
        <p:nvSpPr>
          <p:cNvPr id="36"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7"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9"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40" name="Chart Placeholder 4"/>
          <p:cNvSpPr>
            <a:spLocks noGrp="1"/>
          </p:cNvSpPr>
          <p:nvPr>
            <p:ph type="chart" sz="quarter" idx="13" hasCustomPrompt="1"/>
          </p:nvPr>
        </p:nvSpPr>
        <p:spPr>
          <a:xfrm>
            <a:off x="725214" y="1876658"/>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2" name="Text Placeholder 4"/>
          <p:cNvSpPr>
            <a:spLocks noGrp="1"/>
          </p:cNvSpPr>
          <p:nvPr>
            <p:ph type="body" sz="quarter" idx="10" hasCustomPrompt="1"/>
          </p:nvPr>
        </p:nvSpPr>
        <p:spPr>
          <a:xfrm>
            <a:off x="72521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6" name="Chart Placeholder 4"/>
          <p:cNvSpPr>
            <a:spLocks noGrp="1"/>
          </p:cNvSpPr>
          <p:nvPr>
            <p:ph type="chart" sz="quarter" idx="15" hasCustomPrompt="1"/>
          </p:nvPr>
        </p:nvSpPr>
        <p:spPr>
          <a:xfrm>
            <a:off x="4379234"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48" name="Text Placeholder 4"/>
          <p:cNvSpPr>
            <a:spLocks noGrp="1"/>
          </p:cNvSpPr>
          <p:nvPr>
            <p:ph type="body" sz="quarter" idx="17" hasCustomPrompt="1"/>
          </p:nvPr>
        </p:nvSpPr>
        <p:spPr>
          <a:xfrm>
            <a:off x="4379234"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49" name="Chart Placeholder 4"/>
          <p:cNvSpPr>
            <a:spLocks noGrp="1"/>
          </p:cNvSpPr>
          <p:nvPr>
            <p:ph type="chart" sz="quarter" idx="18" hasCustomPrompt="1"/>
          </p:nvPr>
        </p:nvSpPr>
        <p:spPr>
          <a:xfrm>
            <a:off x="8046320" y="1876657"/>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55" name="Text Placeholder 4"/>
          <p:cNvSpPr>
            <a:spLocks noGrp="1"/>
          </p:cNvSpPr>
          <p:nvPr>
            <p:ph type="body" sz="quarter" idx="20" hasCustomPrompt="1"/>
          </p:nvPr>
        </p:nvSpPr>
        <p:spPr>
          <a:xfrm>
            <a:off x="8046320" y="1553303"/>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18" name="Chart Placeholder 4"/>
          <p:cNvSpPr>
            <a:spLocks noGrp="1"/>
          </p:cNvSpPr>
          <p:nvPr>
            <p:ph type="chart" sz="quarter" idx="21" hasCustomPrompt="1"/>
          </p:nvPr>
        </p:nvSpPr>
        <p:spPr>
          <a:xfrm>
            <a:off x="725214" y="4293286"/>
            <a:ext cx="3167517" cy="1641784"/>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19" name="Text Placeholder 4"/>
          <p:cNvSpPr>
            <a:spLocks noGrp="1"/>
          </p:cNvSpPr>
          <p:nvPr>
            <p:ph type="body" sz="quarter" idx="22" hasCustomPrompt="1"/>
          </p:nvPr>
        </p:nvSpPr>
        <p:spPr>
          <a:xfrm>
            <a:off x="72521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0" name="Chart Placeholder 4"/>
          <p:cNvSpPr>
            <a:spLocks noGrp="1"/>
          </p:cNvSpPr>
          <p:nvPr>
            <p:ph type="chart" sz="quarter" idx="23" hasCustomPrompt="1"/>
          </p:nvPr>
        </p:nvSpPr>
        <p:spPr>
          <a:xfrm>
            <a:off x="4379234"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1" name="Text Placeholder 4"/>
          <p:cNvSpPr>
            <a:spLocks noGrp="1"/>
          </p:cNvSpPr>
          <p:nvPr>
            <p:ph type="body" sz="quarter" idx="24" hasCustomPrompt="1"/>
          </p:nvPr>
        </p:nvSpPr>
        <p:spPr>
          <a:xfrm>
            <a:off x="4379234"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sp>
        <p:nvSpPr>
          <p:cNvPr id="22" name="Chart Placeholder 4"/>
          <p:cNvSpPr>
            <a:spLocks noGrp="1"/>
          </p:cNvSpPr>
          <p:nvPr>
            <p:ph type="chart" sz="quarter" idx="25" hasCustomPrompt="1"/>
          </p:nvPr>
        </p:nvSpPr>
        <p:spPr>
          <a:xfrm>
            <a:off x="8046320" y="4293285"/>
            <a:ext cx="3167517" cy="1641785"/>
          </a:xfrm>
          <a:prstGeom prst="rect">
            <a:avLst/>
          </a:prstGeom>
        </p:spPr>
        <p:txBody>
          <a:bodyPr anchor="ctr"/>
          <a:lstStyle>
            <a:lvl1pPr marL="0" indent="0" algn="ctr">
              <a:buFontTx/>
              <a:buNone/>
              <a:defRPr sz="2000">
                <a:solidFill>
                  <a:schemeClr val="accent6"/>
                </a:solidFill>
              </a:defRPr>
            </a:lvl1pPr>
          </a:lstStyle>
          <a:p>
            <a:r>
              <a:rPr lang="en-US"/>
              <a:t>CHART</a:t>
            </a:r>
          </a:p>
        </p:txBody>
      </p:sp>
      <p:sp>
        <p:nvSpPr>
          <p:cNvPr id="23" name="Text Placeholder 4"/>
          <p:cNvSpPr>
            <a:spLocks noGrp="1"/>
          </p:cNvSpPr>
          <p:nvPr>
            <p:ph type="body" sz="quarter" idx="26" hasCustomPrompt="1"/>
          </p:nvPr>
        </p:nvSpPr>
        <p:spPr>
          <a:xfrm>
            <a:off x="8046320" y="3969931"/>
            <a:ext cx="3167517" cy="216242"/>
          </a:xfrm>
          <a:prstGeom prst="rect">
            <a:avLst/>
          </a:prstGeom>
        </p:spPr>
        <p:txBody>
          <a:bodyPr lIns="0" tIns="0" rIns="0" bIns="0"/>
          <a:lstStyle>
            <a:lvl1pPr marL="0" marR="0" indent="0" algn="l" defTabSz="914400" rtl="0" eaLnBrk="1" fontAlgn="auto" latinLnBrk="0" hangingPunct="1">
              <a:lnSpc>
                <a:spcPct val="100000"/>
              </a:lnSpc>
              <a:spcBef>
                <a:spcPts val="1000"/>
              </a:spcBef>
              <a:spcAft>
                <a:spcPts val="0"/>
              </a:spcAft>
              <a:buClrTx/>
              <a:buSzTx/>
              <a:buFontTx/>
              <a:buNone/>
              <a:tabLst/>
              <a:defRPr sz="1200" b="0" i="0" baseline="0">
                <a:solidFill>
                  <a:schemeClr val="tx1"/>
                </a:solidFill>
                <a:latin typeface="+mn-lt"/>
                <a:ea typeface="Arial MT Light" charset="0"/>
                <a:cs typeface="Arial MT Light" charset="0"/>
              </a:defRPr>
            </a:lvl1pPr>
            <a:lvl2pPr marL="457200" indent="0" algn="l">
              <a:buFontTx/>
              <a:buNone/>
              <a:defRPr sz="1200"/>
            </a:lvl2pPr>
            <a:lvl3pPr marL="914400" indent="0" algn="l">
              <a:buFontTx/>
              <a:buNone/>
              <a:defRPr sz="1200"/>
            </a:lvl3pPr>
            <a:lvl4pPr marL="1371600" indent="0" algn="l">
              <a:buFontTx/>
              <a:buNone/>
              <a:defRPr sz="1200"/>
            </a:lvl4pPr>
            <a:lvl5pPr marL="1828800" indent="0" algn="l">
              <a:buFontTx/>
              <a:buNone/>
              <a:defRPr sz="1200"/>
            </a:lvl5pPr>
          </a:lstStyle>
          <a:p>
            <a:pPr lvl="0"/>
            <a:r>
              <a:rPr lang="en-US"/>
              <a:t>HEADING. UPPERCASE ONLY. GREY. 12PT</a:t>
            </a:r>
          </a:p>
        </p:txBody>
      </p:sp>
      <p:cxnSp>
        <p:nvCxnSpPr>
          <p:cNvPr id="5" name="Straight Connector 4"/>
          <p:cNvCxnSpPr/>
          <p:nvPr userDrawn="1"/>
        </p:nvCxnSpPr>
        <p:spPr>
          <a:xfrm>
            <a:off x="725214" y="3735977"/>
            <a:ext cx="10488623" cy="0"/>
          </a:xfrm>
          <a:prstGeom prst="line">
            <a:avLst/>
          </a:prstGeom>
          <a:ln>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27. LLA Slide Blank">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
        <p:nvSpPr>
          <p:cNvPr id="2" name="Title 1"/>
          <p:cNvSpPr>
            <a:spLocks noGrp="1"/>
          </p:cNvSpPr>
          <p:nvPr>
            <p:ph type="ctrTitle" hasCustomPrompt="1"/>
          </p:nvPr>
        </p:nvSpPr>
        <p:spPr>
          <a:xfrm>
            <a:off x="311873" y="207732"/>
            <a:ext cx="9966660" cy="605068"/>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BLANK SLIDE FOR BESPOKE USE.</a:t>
            </a:r>
          </a:p>
        </p:txBody>
      </p:sp>
      <p:sp>
        <p:nvSpPr>
          <p:cNvPr id="4" name="Footer Placeholder 33">
            <a:extLst>
              <a:ext uri="{FF2B5EF4-FFF2-40B4-BE49-F238E27FC236}">
                <a16:creationId xmlns:a16="http://schemas.microsoft.com/office/drawing/2014/main" id="{BAC9E3CC-97F3-42E5-8BFD-988010DC22BB}"/>
              </a:ext>
            </a:extLst>
          </p:cNvPr>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MAY 2022</a:t>
            </a:r>
          </a:p>
        </p:txBody>
      </p:sp>
      <p:sp>
        <p:nvSpPr>
          <p:cNvPr id="5" name="Slide Number Placeholder 34">
            <a:extLst>
              <a:ext uri="{FF2B5EF4-FFF2-40B4-BE49-F238E27FC236}">
                <a16:creationId xmlns:a16="http://schemas.microsoft.com/office/drawing/2014/main" id="{A68B70BC-6AE7-4A25-BCCA-CE3AA55373B2}"/>
              </a:ext>
            </a:extLst>
          </p:cNvPr>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Tree>
    <p:extLst>
      <p:ext uri="{BB962C8B-B14F-4D97-AF65-F5344CB8AC3E}">
        <p14:creationId xmlns:p14="http://schemas.microsoft.com/office/powerpoint/2010/main" val="27752259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4. LLA Slide - Large Bold Tex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userDrawn="1">
            <p:custDataLst>
              <p:tags r:id="rId2"/>
            </p:custDataLst>
            <p:extLst>
              <p:ext uri="{D42A27DB-BD31-4B8C-83A1-F6EECF244321}">
                <p14:modId xmlns:p14="http://schemas.microsoft.com/office/powerpoint/2010/main" val="30268461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47" imgH="348" progId="TCLayout.ActiveDocument.1">
                  <p:embed/>
                </p:oleObj>
              </mc:Choice>
              <mc:Fallback>
                <p:oleObj name="think-cell Slide" r:id="rId5" imgW="347" imgH="348"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tangle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400" b="0" i="0" baseline="0">
              <a:latin typeface="Arial MT Light"/>
              <a:sym typeface="Arial MT Light"/>
            </a:endParaRPr>
          </a:p>
        </p:txBody>
      </p:sp>
      <p:sp>
        <p:nvSpPr>
          <p:cNvPr id="4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LIBERTY LATIN AMERICA  |  MAY 2022</a:t>
            </a:r>
          </a:p>
        </p:txBody>
      </p:sp>
      <p:sp>
        <p:nvSpPr>
          <p:cNvPr id="4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baseline="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OUR OPERATIONS</a:t>
            </a:r>
          </a:p>
        </p:txBody>
      </p:sp>
    </p:spTree>
    <p:extLst>
      <p:ext uri="{BB962C8B-B14F-4D97-AF65-F5344CB8AC3E}">
        <p14:creationId xmlns:p14="http://schemas.microsoft.com/office/powerpoint/2010/main" val="375590624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 Orange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bg2"/>
              </a:gs>
              <a:gs pos="100000">
                <a:schemeClr val="bg2">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fld id="{F47BFBC2-D8BC-8A4E-B07D-C5EC72FEF2B2}" type="datetime2">
              <a:rPr lang="en-GB" smtClean="0"/>
              <a:pPr/>
              <a:t>Sunday, 17 July 2022</a:t>
            </a:fld>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GENERAL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GENERAL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6" name="Rectangle 95"/>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7" name="Straight Connector 96"/>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HR Divider Slide">
    <p:spTree>
      <p:nvGrpSpPr>
        <p:cNvPr id="1" name=""/>
        <p:cNvGrpSpPr/>
        <p:nvPr/>
      </p:nvGrpSpPr>
      <p:grpSpPr>
        <a:xfrm>
          <a:off x="0" y="0"/>
          <a:ext cx="0" cy="0"/>
          <a:chOff x="0" y="0"/>
          <a:chExt cx="0" cy="0"/>
        </a:xfrm>
      </p:grpSpPr>
      <p:sp>
        <p:nvSpPr>
          <p:cNvPr id="2" name="Rectangle 1"/>
          <p:cNvSpPr/>
          <p:nvPr userDrawn="1"/>
        </p:nvSpPr>
        <p:spPr>
          <a:xfrm>
            <a:off x="0" y="0"/>
            <a:ext cx="12191999" cy="4733453"/>
          </a:xfrm>
          <a:prstGeom prst="rect">
            <a:avLst/>
          </a:prstGeom>
          <a:gradFill>
            <a:gsLst>
              <a:gs pos="0">
                <a:schemeClr val="accent2"/>
              </a:gs>
              <a:gs pos="100000">
                <a:schemeClr val="accent2">
                  <a:lumMod val="50000"/>
                </a:scheme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ounded Rectangle 33"/>
          <p:cNvSpPr/>
          <p:nvPr userDrawn="1"/>
        </p:nvSpPr>
        <p:spPr>
          <a:xfrm>
            <a:off x="2552617" y="4351843"/>
            <a:ext cx="1148080" cy="45093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5" name="Straight Connector 34"/>
          <p:cNvCxnSpPr/>
          <p:nvPr userDrawn="1"/>
        </p:nvCxnSpPr>
        <p:spPr>
          <a:xfrm>
            <a:off x="2548398"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6" name="Rounded Rectangle 35"/>
          <p:cNvSpPr/>
          <p:nvPr userDrawn="1"/>
        </p:nvSpPr>
        <p:spPr>
          <a:xfrm>
            <a:off x="1366112" y="4351843"/>
            <a:ext cx="1148080" cy="45093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37" name="Straight Connector 36"/>
          <p:cNvCxnSpPr/>
          <p:nvPr userDrawn="1"/>
        </p:nvCxnSpPr>
        <p:spPr>
          <a:xfrm>
            <a:off x="1370281" y="4712870"/>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8" name="Rounded Rectangle 37"/>
          <p:cNvSpPr/>
          <p:nvPr userDrawn="1"/>
        </p:nvSpPr>
        <p:spPr>
          <a:xfrm>
            <a:off x="182404" y="4351843"/>
            <a:ext cx="1148080" cy="45093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9" name="TextBox 38"/>
          <p:cNvSpPr txBox="1"/>
          <p:nvPr userDrawn="1"/>
        </p:nvSpPr>
        <p:spPr>
          <a:xfrm>
            <a:off x="223643" y="4261406"/>
            <a:ext cx="1119423" cy="61555"/>
          </a:xfrm>
          <a:prstGeom prst="rect">
            <a:avLst/>
          </a:prstGeom>
          <a:noFill/>
          <a:effectLst/>
        </p:spPr>
        <p:txBody>
          <a:bodyPr wrap="square" lIns="0" tIns="0" rIns="0" bIns="0" rtlCol="0">
            <a:spAutoFit/>
          </a:bodyPr>
          <a:lstStyle/>
          <a:p>
            <a:pPr algn="l"/>
            <a:r>
              <a:rPr lang="en-US" sz="400">
                <a:solidFill>
                  <a:schemeClr val="bg1"/>
                </a:solidFill>
                <a:effectLst/>
              </a:rPr>
              <a:t>Part of Liberty Latin America</a:t>
            </a:r>
          </a:p>
        </p:txBody>
      </p:sp>
      <p:pic>
        <p:nvPicPr>
          <p:cNvPr id="40" name="Picture 39"/>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310601" y="4409887"/>
            <a:ext cx="873110" cy="232210"/>
          </a:xfrm>
          <a:prstGeom prst="rect">
            <a:avLst/>
          </a:prstGeom>
          <a:effectLst/>
        </p:spPr>
      </p:pic>
      <p:cxnSp>
        <p:nvCxnSpPr>
          <p:cNvPr id="41" name="Straight Connector 40"/>
          <p:cNvCxnSpPr/>
          <p:nvPr userDrawn="1"/>
        </p:nvCxnSpPr>
        <p:spPr>
          <a:xfrm flipV="1">
            <a:off x="182404" y="4719044"/>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pic>
        <p:nvPicPr>
          <p:cNvPr id="42" name="Picture 4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594123" y="4362840"/>
            <a:ext cx="692427" cy="325697"/>
          </a:xfrm>
          <a:prstGeom prst="rect">
            <a:avLst/>
          </a:prstGeom>
        </p:spPr>
      </p:pic>
      <p:pic>
        <p:nvPicPr>
          <p:cNvPr id="43" name="Picture 4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800811" y="4387517"/>
            <a:ext cx="653109" cy="268150"/>
          </a:xfrm>
          <a:prstGeom prst="rect">
            <a:avLst/>
          </a:prstGeom>
        </p:spPr>
      </p:pic>
      <p:sp>
        <p:nvSpPr>
          <p:cNvPr id="4" name="Date Placeholder 3"/>
          <p:cNvSpPr>
            <a:spLocks noGrp="1"/>
          </p:cNvSpPr>
          <p:nvPr>
            <p:ph type="dt" sz="half" idx="10"/>
          </p:nvPr>
        </p:nvSpPr>
        <p:spPr>
          <a:xfrm>
            <a:off x="609601" y="6402383"/>
            <a:ext cx="2743200" cy="271225"/>
          </a:xfrm>
          <a:prstGeom prst="rect">
            <a:avLst/>
          </a:prstGeom>
        </p:spPr>
        <p:txBody>
          <a:bodyPr lIns="0" tIns="0" rIns="0" bIns="0" anchor="b"/>
          <a:lstStyle>
            <a:lvl1pPr>
              <a:defRPr sz="1000">
                <a:solidFill>
                  <a:schemeClr val="tx1"/>
                </a:solidFill>
              </a:defRPr>
            </a:lvl1pPr>
          </a:lstStyle>
          <a:p>
            <a:fld id="{F47BFBC2-D8BC-8A4E-B07D-C5EC72FEF2B2}" type="datetime2">
              <a:rPr lang="en-GB" smtClean="0"/>
              <a:pPr/>
              <a:t>Sunday, 17 July 2022</a:t>
            </a:fld>
            <a:endParaRPr lang="en-US"/>
          </a:p>
        </p:txBody>
      </p:sp>
      <p:sp>
        <p:nvSpPr>
          <p:cNvPr id="21" name="Title 1"/>
          <p:cNvSpPr>
            <a:spLocks noGrp="1"/>
          </p:cNvSpPr>
          <p:nvPr>
            <p:ph type="title" hasCustomPrompt="1"/>
          </p:nvPr>
        </p:nvSpPr>
        <p:spPr>
          <a:xfrm>
            <a:off x="609601" y="5143500"/>
            <a:ext cx="9939866" cy="529167"/>
          </a:xfrm>
          <a:prstGeom prst="rect">
            <a:avLst/>
          </a:prstGeom>
        </p:spPr>
        <p:txBody>
          <a:bodyPr lIns="0" tIns="0" rIns="0" bIns="0"/>
          <a:lstStyle>
            <a:lvl1pPr>
              <a:defRPr baseline="0"/>
            </a:lvl1pPr>
          </a:lstStyle>
          <a:p>
            <a:r>
              <a:rPr lang="en-US"/>
              <a:t>HR DIVIDER | UPPERCASE ONLY | 32PT</a:t>
            </a:r>
          </a:p>
        </p:txBody>
      </p:sp>
      <p:sp>
        <p:nvSpPr>
          <p:cNvPr id="9" name="Text Placeholder 8"/>
          <p:cNvSpPr>
            <a:spLocks noGrp="1"/>
          </p:cNvSpPr>
          <p:nvPr>
            <p:ph type="body" sz="quarter" idx="11" hasCustomPrompt="1"/>
          </p:nvPr>
        </p:nvSpPr>
        <p:spPr>
          <a:xfrm>
            <a:off x="609599" y="5742569"/>
            <a:ext cx="9939867" cy="345184"/>
          </a:xfrm>
          <a:prstGeom prst="rect">
            <a:avLst/>
          </a:prstGeom>
        </p:spPr>
        <p:txBody>
          <a:bodyPr lIns="0" tIns="0" rIns="0" bIns="0"/>
          <a:lstStyle>
            <a:lvl1pPr>
              <a:defRPr sz="1800" baseline="0"/>
            </a:lvl1pPr>
          </a:lstStyle>
          <a:p>
            <a:pPr lvl="0"/>
            <a:r>
              <a:rPr lang="en-US"/>
              <a:t>HR DIVIDER SUB HEADING | UPPERCASE ONLY | 18PT</a:t>
            </a:r>
          </a:p>
        </p:txBody>
      </p:sp>
      <p:pic>
        <p:nvPicPr>
          <p:cNvPr id="76" name="Picture 75"/>
          <p:cNvPicPr>
            <a:picLocks noChangeAspect="1"/>
          </p:cNvPicPr>
          <p:nvPr userDrawn="1"/>
        </p:nvPicPr>
        <p:blipFill rotWithShape="1">
          <a:blip r:embed="rId5" cstate="email">
            <a:alphaModFix amt="34000"/>
            <a:extLst>
              <a:ext uri="{28A0092B-C50C-407E-A947-70E740481C1C}">
                <a14:useLocalDpi xmlns:a14="http://schemas.microsoft.com/office/drawing/2010/main"/>
              </a:ext>
            </a:extLst>
          </a:blip>
          <a:srcRect/>
          <a:stretch/>
        </p:blipFill>
        <p:spPr>
          <a:xfrm>
            <a:off x="9819861" y="0"/>
            <a:ext cx="2372139" cy="4802775"/>
          </a:xfrm>
          <a:prstGeom prst="rect">
            <a:avLst/>
          </a:prstGeom>
          <a:effectLst/>
        </p:spPr>
      </p:pic>
      <p:sp>
        <p:nvSpPr>
          <p:cNvPr id="94" name="Rectangle 93"/>
          <p:cNvSpPr/>
          <p:nvPr userDrawn="1"/>
        </p:nvSpPr>
        <p:spPr>
          <a:xfrm>
            <a:off x="0" y="4730154"/>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95" name="Straight Connector 94"/>
          <p:cNvCxnSpPr/>
          <p:nvPr userDrawn="1"/>
        </p:nvCxnSpPr>
        <p:spPr>
          <a:xfrm>
            <a:off x="0" y="4715383"/>
            <a:ext cx="12191999"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6. LLA Slide - Table 9 Rows /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53497"/>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9 ROWS AND 9 COLUMNS</a:t>
            </a:r>
          </a:p>
        </p:txBody>
      </p:sp>
      <p:graphicFrame>
        <p:nvGraphicFramePr>
          <p:cNvPr id="33" name="Group 3"/>
          <p:cNvGraphicFramePr>
            <a:graphicFrameLocks/>
          </p:cNvGraphicFramePr>
          <p:nvPr userDrawn="1">
            <p:custDataLst>
              <p:tags r:id="rId1"/>
            </p:custDataLst>
            <p:extLst>
              <p:ext uri="{D42A27DB-BD31-4B8C-83A1-F6EECF244321}">
                <p14:modId xmlns:p14="http://schemas.microsoft.com/office/powerpoint/2010/main" val="676397837"/>
              </p:ext>
            </p:extLst>
          </p:nvPr>
        </p:nvGraphicFramePr>
        <p:xfrm>
          <a:off x="783770" y="1534944"/>
          <a:ext cx="10377812" cy="4317034"/>
        </p:xfrm>
        <a:graphic>
          <a:graphicData uri="http://schemas.openxmlformats.org/drawingml/2006/table">
            <a:tbl>
              <a:tblPr>
                <a:tableStyleId>{8799B23B-EC83-4686-B30A-512413B5E67A}</a:tableStyleId>
              </a:tblPr>
              <a:tblGrid>
                <a:gridCol w="1696932">
                  <a:extLst>
                    <a:ext uri="{9D8B030D-6E8A-4147-A177-3AD203B41FA5}">
                      <a16:colId xmlns:a16="http://schemas.microsoft.com/office/drawing/2014/main" val="20000"/>
                    </a:ext>
                  </a:extLst>
                </a:gridCol>
                <a:gridCol w="1085110">
                  <a:extLst>
                    <a:ext uri="{9D8B030D-6E8A-4147-A177-3AD203B41FA5}">
                      <a16:colId xmlns:a16="http://schemas.microsoft.com/office/drawing/2014/main" val="20001"/>
                    </a:ext>
                  </a:extLst>
                </a:gridCol>
                <a:gridCol w="1085110">
                  <a:extLst>
                    <a:ext uri="{9D8B030D-6E8A-4147-A177-3AD203B41FA5}">
                      <a16:colId xmlns:a16="http://schemas.microsoft.com/office/drawing/2014/main" val="20002"/>
                    </a:ext>
                  </a:extLst>
                </a:gridCol>
                <a:gridCol w="1085110">
                  <a:extLst>
                    <a:ext uri="{9D8B030D-6E8A-4147-A177-3AD203B41FA5}">
                      <a16:colId xmlns:a16="http://schemas.microsoft.com/office/drawing/2014/main" val="20003"/>
                    </a:ext>
                  </a:extLst>
                </a:gridCol>
                <a:gridCol w="1085110">
                  <a:extLst>
                    <a:ext uri="{9D8B030D-6E8A-4147-A177-3AD203B41FA5}">
                      <a16:colId xmlns:a16="http://schemas.microsoft.com/office/drawing/2014/main" val="20004"/>
                    </a:ext>
                  </a:extLst>
                </a:gridCol>
                <a:gridCol w="1085110">
                  <a:extLst>
                    <a:ext uri="{9D8B030D-6E8A-4147-A177-3AD203B41FA5}">
                      <a16:colId xmlns:a16="http://schemas.microsoft.com/office/drawing/2014/main" val="20005"/>
                    </a:ext>
                  </a:extLst>
                </a:gridCol>
                <a:gridCol w="1085110">
                  <a:extLst>
                    <a:ext uri="{9D8B030D-6E8A-4147-A177-3AD203B41FA5}">
                      <a16:colId xmlns:a16="http://schemas.microsoft.com/office/drawing/2014/main" val="20006"/>
                    </a:ext>
                  </a:extLst>
                </a:gridCol>
                <a:gridCol w="1085110">
                  <a:extLst>
                    <a:ext uri="{9D8B030D-6E8A-4147-A177-3AD203B41FA5}">
                      <a16:colId xmlns:a16="http://schemas.microsoft.com/office/drawing/2014/main" val="20007"/>
                    </a:ext>
                  </a:extLst>
                </a:gridCol>
                <a:gridCol w="1085110">
                  <a:extLst>
                    <a:ext uri="{9D8B030D-6E8A-4147-A177-3AD203B41FA5}">
                      <a16:colId xmlns:a16="http://schemas.microsoft.com/office/drawing/2014/main" val="20008"/>
                    </a:ext>
                  </a:extLst>
                </a:gridCol>
              </a:tblGrid>
              <a:tr h="331610">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endParaRPr kumimoji="0" lang="en-GB" sz="1200" b="1" i="0" u="none" strike="noStrike" kern="1200" cap="none" normalizeH="0" baseline="0">
                        <a:ln>
                          <a:noFill/>
                        </a:ln>
                        <a:solidFill>
                          <a:schemeClr val="tx1"/>
                        </a:solidFill>
                        <a:effectLst/>
                        <a:latin typeface="Arial" charset="0"/>
                        <a:ea typeface="+mn-ea"/>
                        <a:cs typeface="+mn-cs"/>
                      </a:endParaRPr>
                    </a:p>
                  </a:txBody>
                  <a:tcPr marL="66462" marR="66462" marT="36000" marB="36000" anchor="ctr" horzOverflow="overflow">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b="1" u="none" strike="noStrike" cap="none" normalizeH="0" baseline="0">
                          <a:ln>
                            <a:noFill/>
                          </a:ln>
                          <a:solidFill>
                            <a:schemeClr val="bg1"/>
                          </a:solidFill>
                          <a:effectLst/>
                        </a:rPr>
                        <a:t>Subhead</a:t>
                      </a:r>
                      <a:endParaRPr kumimoji="0" lang="en-US" sz="1200" b="1" i="0" u="none" strike="noStrike" cap="none" normalizeH="0" baseline="0">
                        <a:ln>
                          <a:noFill/>
                        </a:ln>
                        <a:solidFill>
                          <a:schemeClr val="bg1"/>
                        </a:solidFill>
                        <a:effectLst/>
                        <a:latin typeface="Arial" charset="0"/>
                      </a:endParaRPr>
                    </a:p>
                  </a:txBody>
                  <a:tcPr marL="66462" marR="66462" marT="36000" marB="3600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12700" cmpd="sng">
                      <a:noFill/>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6350" cap="flat" cmpd="sng" algn="ctr">
                      <a:solidFill>
                        <a:schemeClr val="bg1"/>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6350" cap="flat" cmpd="sng" algn="ctr">
                      <a:solidFill>
                        <a:schemeClr val="bg1"/>
                      </a:solidFill>
                      <a:prstDash val="solid"/>
                      <a:round/>
                      <a:headEnd type="none" w="med" len="med"/>
                      <a:tailEnd type="none" w="med" len="med"/>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r h="498178">
                <a:tc>
                  <a:txBody>
                    <a:bodyPr/>
                    <a:lstStyle/>
                    <a:p>
                      <a:pPr marL="0" marR="0" lvl="0" indent="0" algn="l"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Row description</a:t>
                      </a:r>
                      <a:endParaRPr kumimoji="0" lang="en-US" sz="1200" b="1"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400" rtl="0" eaLnBrk="1" fontAlgn="base" latinLnBrk="0" hangingPunct="1">
                        <a:lnSpc>
                          <a:spcPct val="106000"/>
                        </a:lnSpc>
                        <a:spcBef>
                          <a:spcPct val="50000"/>
                        </a:spcBef>
                        <a:spcAft>
                          <a:spcPct val="0"/>
                        </a:spcAft>
                        <a:buClr>
                          <a:schemeClr val="tx1"/>
                        </a:buClr>
                        <a:buSzTx/>
                        <a:buFont typeface="Wingdings 2" pitchFamily="18" charset="2"/>
                        <a:buNone/>
                        <a:tabLst/>
                      </a:pPr>
                      <a:r>
                        <a:rPr kumimoji="0" lang="en-US" sz="1200" u="none" strike="noStrike" cap="none" normalizeH="0" baseline="0">
                          <a:ln>
                            <a:noFill/>
                          </a:ln>
                          <a:solidFill>
                            <a:schemeClr val="tx1"/>
                          </a:solidFill>
                          <a:effectLst/>
                        </a:rPr>
                        <a:t>xx</a:t>
                      </a:r>
                      <a:endParaRPr kumimoji="0" lang="en-US" sz="1200" b="0" i="0" u="none" strike="noStrike" cap="none" normalizeH="0" baseline="0">
                        <a:ln>
                          <a:noFill/>
                        </a:ln>
                        <a:solidFill>
                          <a:schemeClr val="tx1"/>
                        </a:solidFill>
                        <a:effectLst/>
                        <a:latin typeface="Arial" charset="0"/>
                      </a:endParaRPr>
                    </a:p>
                  </a:txBody>
                  <a:tcPr marL="66462" marR="66462" marT="36000" marB="36000" anchor="ctr" horzOverflow="overflow">
                    <a:lnL w="12700" cmpd="sng">
                      <a:noFill/>
                    </a:lnL>
                    <a:lnR w="12700" cmpd="sng">
                      <a:noFill/>
                    </a:lnR>
                    <a:lnT w="9525" cap="flat" cmpd="sng" algn="ctr">
                      <a:solidFill>
                        <a:schemeClr val="tx2"/>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8"/>
                  </a:ext>
                </a:extLst>
              </a:tr>
            </a:tbl>
          </a:graphicData>
        </a:graphic>
      </p:graphicFrame>
      <p:sp>
        <p:nvSpPr>
          <p:cNvPr id="34"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5"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6"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7. LLA Slide - Table 4 Rows / 4 Columns">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11873" y="207732"/>
            <a:ext cx="9966660" cy="625115"/>
          </a:xfrm>
          <a:prstGeom prst="rect">
            <a:avLst/>
          </a:prstGeom>
        </p:spPr>
        <p:txBody>
          <a:bodyPr lIns="0" tIns="0" rIns="0" bIns="0" anchor="t"/>
          <a:lstStyle>
            <a:lvl1pPr algn="l">
              <a:defRPr sz="2400" b="0" i="0" baseline="0">
                <a:solidFill>
                  <a:schemeClr val="tx1"/>
                </a:solidFill>
                <a:latin typeface="Arial MT Light" charset="0"/>
                <a:ea typeface="Arial MT Light" charset="0"/>
                <a:cs typeface="Arial MT Light" charset="0"/>
              </a:defRPr>
            </a:lvl1pPr>
          </a:lstStyle>
          <a:p>
            <a:r>
              <a:rPr lang="en-US"/>
              <a:t>CLICK TO EDIT HEADING TEXT. UPPERCASE ONLY. 24PT</a:t>
            </a:r>
            <a:br>
              <a:rPr lang="en-US"/>
            </a:br>
            <a:r>
              <a:rPr lang="en-US"/>
              <a:t>TABLE 3 COLUMNS 4 ROWS</a:t>
            </a:r>
          </a:p>
        </p:txBody>
      </p:sp>
      <p:graphicFrame>
        <p:nvGraphicFramePr>
          <p:cNvPr id="34" name="Group 4"/>
          <p:cNvGraphicFramePr>
            <a:graphicFrameLocks noGrp="1"/>
          </p:cNvGraphicFramePr>
          <p:nvPr userDrawn="1">
            <p:custDataLst>
              <p:tags r:id="rId1"/>
            </p:custDataLst>
            <p:extLst>
              <p:ext uri="{D42A27DB-BD31-4B8C-83A1-F6EECF244321}">
                <p14:modId xmlns:p14="http://schemas.microsoft.com/office/powerpoint/2010/main" val="50114223"/>
              </p:ext>
            </p:extLst>
          </p:nvPr>
        </p:nvGraphicFramePr>
        <p:xfrm>
          <a:off x="954157" y="1584125"/>
          <a:ext cx="10207427" cy="4260849"/>
        </p:xfrm>
        <a:graphic>
          <a:graphicData uri="http://schemas.openxmlformats.org/drawingml/2006/table">
            <a:tbl>
              <a:tblPr/>
              <a:tblGrid>
                <a:gridCol w="1156577">
                  <a:extLst>
                    <a:ext uri="{9D8B030D-6E8A-4147-A177-3AD203B41FA5}">
                      <a16:colId xmlns:a16="http://schemas.microsoft.com/office/drawing/2014/main" val="20000"/>
                    </a:ext>
                  </a:extLst>
                </a:gridCol>
                <a:gridCol w="3016950">
                  <a:extLst>
                    <a:ext uri="{9D8B030D-6E8A-4147-A177-3AD203B41FA5}">
                      <a16:colId xmlns:a16="http://schemas.microsoft.com/office/drawing/2014/main" val="20001"/>
                    </a:ext>
                  </a:extLst>
                </a:gridCol>
                <a:gridCol w="3016950">
                  <a:extLst>
                    <a:ext uri="{9D8B030D-6E8A-4147-A177-3AD203B41FA5}">
                      <a16:colId xmlns:a16="http://schemas.microsoft.com/office/drawing/2014/main" val="20002"/>
                    </a:ext>
                  </a:extLst>
                </a:gridCol>
                <a:gridCol w="3016950">
                  <a:extLst>
                    <a:ext uri="{9D8B030D-6E8A-4147-A177-3AD203B41FA5}">
                      <a16:colId xmlns:a16="http://schemas.microsoft.com/office/drawing/2014/main" val="20003"/>
                    </a:ext>
                  </a:extLst>
                </a:gridCol>
              </a:tblGrid>
              <a:tr h="719427">
                <a:tc>
                  <a:txBody>
                    <a:bodyPr/>
                    <a:lstStyle/>
                    <a:p>
                      <a:pPr marL="0" marR="0" lvl="0" indent="0" algn="l" defTabSz="914400" rtl="0" eaLnBrk="1" fontAlgn="base" latinLnBrk="0" hangingPunct="1">
                        <a:lnSpc>
                          <a:spcPct val="110000"/>
                        </a:lnSpc>
                        <a:spcBef>
                          <a:spcPct val="0"/>
                        </a:spcBef>
                        <a:spcAft>
                          <a:spcPct val="20000"/>
                        </a:spcAft>
                        <a:buClr>
                          <a:schemeClr val="tx2"/>
                        </a:buClr>
                        <a:buSzPct val="150000"/>
                        <a:buFontTx/>
                        <a:buNone/>
                        <a:tabLst/>
                      </a:pPr>
                      <a:endParaRPr kumimoji="0" lang="nl-NL" sz="1100" b="0" i="1" u="none" strike="noStrike" cap="none" normalizeH="0" baseline="0">
                        <a:ln>
                          <a:noFill/>
                        </a:ln>
                        <a:solidFill>
                          <a:schemeClr val="accent1"/>
                        </a:solidFill>
                        <a:effectLst/>
                        <a:latin typeface="Arial" charset="0"/>
                      </a:endParaRP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ct val="0"/>
                        </a:spcBef>
                        <a:spcAft>
                          <a:spcPct val="20000"/>
                        </a:spcAft>
                        <a:buClr>
                          <a:schemeClr val="tx2"/>
                        </a:buClr>
                        <a:buSzPct val="150000"/>
                        <a:buFontTx/>
                        <a:buNone/>
                        <a:tabLst/>
                      </a:pPr>
                      <a:r>
                        <a:rPr kumimoji="0" lang="en-US" sz="1400" b="1" i="0" u="none" strike="noStrike" cap="none" normalizeH="0" baseline="0">
                          <a:ln>
                            <a:noFill/>
                          </a:ln>
                          <a:solidFill>
                            <a:schemeClr val="bg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867188">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1</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1"/>
                  </a:ext>
                </a:extLst>
              </a:tr>
              <a:tr h="891411">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2</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893834">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3</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888989">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tab pos="630238" algn="l"/>
                        </a:tabLst>
                      </a:pPr>
                      <a:r>
                        <a:rPr kumimoji="0" lang="en-US" sz="1400" b="0" i="0" u="none" strike="noStrike" cap="none" normalizeH="0" baseline="0">
                          <a:ln>
                            <a:noFill/>
                          </a:ln>
                          <a:solidFill>
                            <a:schemeClr val="bg1"/>
                          </a:solidFill>
                          <a:effectLst/>
                          <a:latin typeface="Arial" charset="0"/>
                        </a:rPr>
                        <a:t>4</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accent6"/>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10000"/>
                        </a:lnSpc>
                        <a:spcBef>
                          <a:spcPct val="0"/>
                        </a:spcBef>
                        <a:spcAft>
                          <a:spcPct val="20000"/>
                        </a:spcAft>
                        <a:buClr>
                          <a:schemeClr val="tx2"/>
                        </a:buClr>
                        <a:buSzPct val="150000"/>
                        <a:buFontTx/>
                        <a:buNone/>
                        <a:tabLst/>
                      </a:pPr>
                      <a:r>
                        <a:rPr kumimoji="0" lang="en-US" sz="1200" b="0" i="0" u="none" strike="noStrike" cap="none" normalizeH="0" baseline="0">
                          <a:ln>
                            <a:noFill/>
                          </a:ln>
                          <a:solidFill>
                            <a:schemeClr val="tx1"/>
                          </a:solidFill>
                          <a:effectLst/>
                          <a:latin typeface="Arial" charset="0"/>
                        </a:rPr>
                        <a:t>…</a:t>
                      </a:r>
                    </a:p>
                  </a:txBody>
                  <a:tcPr marL="89988" marR="89988" marT="89988" marB="89988" anchor="ctr" horzOverflow="overflow">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bl>
          </a:graphicData>
        </a:graphic>
      </p:graphicFrame>
      <p:sp>
        <p:nvSpPr>
          <p:cNvPr id="35" name="Footer Placeholder 33"/>
          <p:cNvSpPr>
            <a:spLocks noGrp="1"/>
          </p:cNvSpPr>
          <p:nvPr>
            <p:ph type="ftr" sz="quarter" idx="3"/>
          </p:nvPr>
        </p:nvSpPr>
        <p:spPr>
          <a:xfrm>
            <a:off x="207599" y="6596252"/>
            <a:ext cx="5634401" cy="230746"/>
          </a:xfrm>
          <a:prstGeom prst="rect">
            <a:avLst/>
          </a:prstGeom>
        </p:spPr>
        <p:txBody>
          <a:bodyPr anchor="ctr"/>
          <a:lstStyle>
            <a:lvl1pPr>
              <a:defRPr sz="800"/>
            </a:lvl1pPr>
          </a:lstStyle>
          <a:p>
            <a:r>
              <a:rPr lang="en-US">
                <a:solidFill>
                  <a:srgbClr val="FFFFFF"/>
                </a:solidFill>
              </a:rPr>
              <a:t>INSERT PRESENTATION TITLE HERE  |  INSERT NAME HERE</a:t>
            </a:r>
          </a:p>
        </p:txBody>
      </p:sp>
      <p:sp>
        <p:nvSpPr>
          <p:cNvPr id="36" name="Slide Number Placeholder 34"/>
          <p:cNvSpPr>
            <a:spLocks noGrp="1"/>
          </p:cNvSpPr>
          <p:nvPr>
            <p:ph type="sldNum" sz="quarter" idx="4"/>
          </p:nvPr>
        </p:nvSpPr>
        <p:spPr>
          <a:xfrm>
            <a:off x="11579962" y="6591300"/>
            <a:ext cx="421501" cy="230746"/>
          </a:xfrm>
          <a:prstGeom prst="rect">
            <a:avLst/>
          </a:prstGeom>
        </p:spPr>
        <p:txBody>
          <a:bodyPr anchor="ctr"/>
          <a:lstStyle>
            <a:lvl1pPr algn="r">
              <a:defRPr sz="800">
                <a:solidFill>
                  <a:schemeClr val="bg1"/>
                </a:solidFill>
              </a:defRPr>
            </a:lvl1pPr>
          </a:lstStyle>
          <a:p>
            <a:fld id="{496097A3-845D-4C79-9B10-713A18711759}" type="slidenum">
              <a:rPr lang="en-US" smtClean="0"/>
              <a:pPr/>
              <a:t>‹#›</a:t>
            </a:fld>
            <a:endParaRPr lang="en-US"/>
          </a:p>
        </p:txBody>
      </p:sp>
      <p:sp>
        <p:nvSpPr>
          <p:cNvPr id="37" name="Date Placeholder 32"/>
          <p:cNvSpPr>
            <a:spLocks noGrp="1"/>
          </p:cNvSpPr>
          <p:nvPr>
            <p:ph type="dt" sz="half" idx="2"/>
          </p:nvPr>
        </p:nvSpPr>
        <p:spPr>
          <a:xfrm>
            <a:off x="9353004" y="6591300"/>
            <a:ext cx="2228850" cy="241300"/>
          </a:xfrm>
          <a:prstGeom prst="rect">
            <a:avLst/>
          </a:prstGeom>
        </p:spPr>
        <p:txBody>
          <a:bodyPr anchor="ctr"/>
          <a:lstStyle>
            <a:lvl1pPr>
              <a:defRPr>
                <a:solidFill>
                  <a:schemeClr val="bg1"/>
                </a:solidFill>
              </a:defRPr>
            </a:lvl1pPr>
          </a:lstStyle>
          <a:p>
            <a:pPr algn="r"/>
            <a:fld id="{315F80CF-B076-F04C-8770-B8A09243D5BC}" type="datetime2">
              <a:rPr lang="en-GB" sz="800" smtClean="0"/>
              <a:t>Sunday, 17 July 2022</a:t>
            </a:fld>
            <a:r>
              <a:rPr lang="en-GB" sz="800"/>
              <a:t>  |</a:t>
            </a:r>
            <a:endParaRPr lang="en-US"/>
          </a:p>
        </p:txBody>
      </p:sp>
      <p:sp>
        <p:nvSpPr>
          <p:cNvPr id="8" name="Subtitle 2"/>
          <p:cNvSpPr>
            <a:spLocks noGrp="1"/>
          </p:cNvSpPr>
          <p:nvPr>
            <p:ph type="subTitle" idx="1" hasCustomPrompt="1"/>
          </p:nvPr>
        </p:nvSpPr>
        <p:spPr>
          <a:xfrm>
            <a:off x="311873" y="927100"/>
            <a:ext cx="9966660" cy="298389"/>
          </a:xfrm>
          <a:prstGeom prst="rect">
            <a:avLst/>
          </a:prstGeom>
        </p:spPr>
        <p:txBody>
          <a:bodyPr lIns="0" tIns="0" rIns="0" bIns="0" anchor="t"/>
          <a:lstStyle>
            <a:lvl1pPr marL="0" indent="0" algn="l">
              <a:buNone/>
              <a:defRPr sz="1400" b="0" i="0">
                <a:solidFill>
                  <a:schemeClr val="bg2"/>
                </a:solidFill>
                <a:latin typeface="Arial MT Light" charset="0"/>
                <a:ea typeface="Arial MT Light" charset="0"/>
                <a:cs typeface="Arial MT Light"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SUB HEADING. UPPERCASE ONLY. 14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10.xml.rels><?xml version="1.0" encoding="UTF-8" standalone="yes"?>
<Relationships xmlns="http://schemas.openxmlformats.org/package/2006/relationships"><Relationship Id="rId13" Type="http://schemas.openxmlformats.org/officeDocument/2006/relationships/slideLayout" Target="../slideLayouts/slideLayout315.xml"/><Relationship Id="rId18" Type="http://schemas.openxmlformats.org/officeDocument/2006/relationships/slideLayout" Target="../slideLayouts/slideLayout320.xml"/><Relationship Id="rId26" Type="http://schemas.openxmlformats.org/officeDocument/2006/relationships/slideLayout" Target="../slideLayouts/slideLayout328.xml"/><Relationship Id="rId3" Type="http://schemas.openxmlformats.org/officeDocument/2006/relationships/slideLayout" Target="../slideLayouts/slideLayout305.xml"/><Relationship Id="rId21" Type="http://schemas.openxmlformats.org/officeDocument/2006/relationships/slideLayout" Target="../slideLayouts/slideLayout323.xml"/><Relationship Id="rId7" Type="http://schemas.openxmlformats.org/officeDocument/2006/relationships/slideLayout" Target="../slideLayouts/slideLayout309.xml"/><Relationship Id="rId12" Type="http://schemas.openxmlformats.org/officeDocument/2006/relationships/slideLayout" Target="../slideLayouts/slideLayout314.xml"/><Relationship Id="rId17" Type="http://schemas.openxmlformats.org/officeDocument/2006/relationships/slideLayout" Target="../slideLayouts/slideLayout319.xml"/><Relationship Id="rId25" Type="http://schemas.openxmlformats.org/officeDocument/2006/relationships/slideLayout" Target="../slideLayouts/slideLayout327.xml"/><Relationship Id="rId33" Type="http://schemas.openxmlformats.org/officeDocument/2006/relationships/image" Target="../media/image25.png"/><Relationship Id="rId2" Type="http://schemas.openxmlformats.org/officeDocument/2006/relationships/slideLayout" Target="../slideLayouts/slideLayout304.xml"/><Relationship Id="rId16" Type="http://schemas.openxmlformats.org/officeDocument/2006/relationships/slideLayout" Target="../slideLayouts/slideLayout318.xml"/><Relationship Id="rId20" Type="http://schemas.openxmlformats.org/officeDocument/2006/relationships/slideLayout" Target="../slideLayouts/slideLayout322.xml"/><Relationship Id="rId29" Type="http://schemas.openxmlformats.org/officeDocument/2006/relationships/vmlDrawing" Target="../drawings/vmlDrawing13.v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slideLayout" Target="../slideLayouts/slideLayout313.xml"/><Relationship Id="rId24" Type="http://schemas.openxmlformats.org/officeDocument/2006/relationships/slideLayout" Target="../slideLayouts/slideLayout326.xml"/><Relationship Id="rId32" Type="http://schemas.openxmlformats.org/officeDocument/2006/relationships/image" Target="../media/image27.emf"/><Relationship Id="rId5" Type="http://schemas.openxmlformats.org/officeDocument/2006/relationships/slideLayout" Target="../slideLayouts/slideLayout307.xml"/><Relationship Id="rId15" Type="http://schemas.openxmlformats.org/officeDocument/2006/relationships/slideLayout" Target="../slideLayouts/slideLayout317.xml"/><Relationship Id="rId23" Type="http://schemas.openxmlformats.org/officeDocument/2006/relationships/slideLayout" Target="../slideLayouts/slideLayout325.xml"/><Relationship Id="rId28" Type="http://schemas.openxmlformats.org/officeDocument/2006/relationships/theme" Target="../theme/theme10.xml"/><Relationship Id="rId10" Type="http://schemas.openxmlformats.org/officeDocument/2006/relationships/slideLayout" Target="../slideLayouts/slideLayout312.xml"/><Relationship Id="rId19" Type="http://schemas.openxmlformats.org/officeDocument/2006/relationships/slideLayout" Target="../slideLayouts/slideLayout321.xml"/><Relationship Id="rId31" Type="http://schemas.openxmlformats.org/officeDocument/2006/relationships/oleObject" Target="../embeddings/oleObject13.bin"/><Relationship Id="rId4" Type="http://schemas.openxmlformats.org/officeDocument/2006/relationships/slideLayout" Target="../slideLayouts/slideLayout306.xml"/><Relationship Id="rId9" Type="http://schemas.openxmlformats.org/officeDocument/2006/relationships/slideLayout" Target="../slideLayouts/slideLayout311.xml"/><Relationship Id="rId14" Type="http://schemas.openxmlformats.org/officeDocument/2006/relationships/slideLayout" Target="../slideLayouts/slideLayout316.xml"/><Relationship Id="rId22" Type="http://schemas.openxmlformats.org/officeDocument/2006/relationships/slideLayout" Target="../slideLayouts/slideLayout324.xml"/><Relationship Id="rId27" Type="http://schemas.openxmlformats.org/officeDocument/2006/relationships/slideLayout" Target="../slideLayouts/slideLayout329.xml"/><Relationship Id="rId30" Type="http://schemas.openxmlformats.org/officeDocument/2006/relationships/tags" Target="../tags/tag93.xml"/><Relationship Id="rId8" Type="http://schemas.openxmlformats.org/officeDocument/2006/relationships/slideLayout" Target="../slideLayouts/slideLayout310.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342.xml"/><Relationship Id="rId18" Type="http://schemas.openxmlformats.org/officeDocument/2006/relationships/slideLayout" Target="../slideLayouts/slideLayout347.xml"/><Relationship Id="rId26" Type="http://schemas.openxmlformats.org/officeDocument/2006/relationships/slideLayout" Target="../slideLayouts/slideLayout355.xml"/><Relationship Id="rId3" Type="http://schemas.openxmlformats.org/officeDocument/2006/relationships/slideLayout" Target="../slideLayouts/slideLayout332.xml"/><Relationship Id="rId21" Type="http://schemas.openxmlformats.org/officeDocument/2006/relationships/slideLayout" Target="../slideLayouts/slideLayout350.xml"/><Relationship Id="rId34" Type="http://schemas.openxmlformats.org/officeDocument/2006/relationships/image" Target="../media/image25.png"/><Relationship Id="rId7" Type="http://schemas.openxmlformats.org/officeDocument/2006/relationships/slideLayout" Target="../slideLayouts/slideLayout336.xml"/><Relationship Id="rId12" Type="http://schemas.openxmlformats.org/officeDocument/2006/relationships/slideLayout" Target="../slideLayouts/slideLayout341.xml"/><Relationship Id="rId17" Type="http://schemas.openxmlformats.org/officeDocument/2006/relationships/slideLayout" Target="../slideLayouts/slideLayout346.xml"/><Relationship Id="rId25" Type="http://schemas.openxmlformats.org/officeDocument/2006/relationships/slideLayout" Target="../slideLayouts/slideLayout354.xml"/><Relationship Id="rId33" Type="http://schemas.openxmlformats.org/officeDocument/2006/relationships/image" Target="../media/image28.emf"/><Relationship Id="rId2" Type="http://schemas.openxmlformats.org/officeDocument/2006/relationships/slideLayout" Target="../slideLayouts/slideLayout331.xml"/><Relationship Id="rId16" Type="http://schemas.openxmlformats.org/officeDocument/2006/relationships/slideLayout" Target="../slideLayouts/slideLayout345.xml"/><Relationship Id="rId20" Type="http://schemas.openxmlformats.org/officeDocument/2006/relationships/slideLayout" Target="../slideLayouts/slideLayout349.xml"/><Relationship Id="rId29" Type="http://schemas.openxmlformats.org/officeDocument/2006/relationships/theme" Target="../theme/theme11.xml"/><Relationship Id="rId1" Type="http://schemas.openxmlformats.org/officeDocument/2006/relationships/slideLayout" Target="../slideLayouts/slideLayout330.xml"/><Relationship Id="rId6" Type="http://schemas.openxmlformats.org/officeDocument/2006/relationships/slideLayout" Target="../slideLayouts/slideLayout335.xml"/><Relationship Id="rId11" Type="http://schemas.openxmlformats.org/officeDocument/2006/relationships/slideLayout" Target="../slideLayouts/slideLayout340.xml"/><Relationship Id="rId24" Type="http://schemas.openxmlformats.org/officeDocument/2006/relationships/slideLayout" Target="../slideLayouts/slideLayout353.xml"/><Relationship Id="rId32" Type="http://schemas.openxmlformats.org/officeDocument/2006/relationships/oleObject" Target="../embeddings/oleObject14.bin"/><Relationship Id="rId5" Type="http://schemas.openxmlformats.org/officeDocument/2006/relationships/slideLayout" Target="../slideLayouts/slideLayout334.xml"/><Relationship Id="rId15" Type="http://schemas.openxmlformats.org/officeDocument/2006/relationships/slideLayout" Target="../slideLayouts/slideLayout344.xml"/><Relationship Id="rId23" Type="http://schemas.openxmlformats.org/officeDocument/2006/relationships/slideLayout" Target="../slideLayouts/slideLayout352.xml"/><Relationship Id="rId28" Type="http://schemas.openxmlformats.org/officeDocument/2006/relationships/slideLayout" Target="../slideLayouts/slideLayout357.xml"/><Relationship Id="rId10" Type="http://schemas.openxmlformats.org/officeDocument/2006/relationships/slideLayout" Target="../slideLayouts/slideLayout339.xml"/><Relationship Id="rId19" Type="http://schemas.openxmlformats.org/officeDocument/2006/relationships/slideLayout" Target="../slideLayouts/slideLayout348.xml"/><Relationship Id="rId31" Type="http://schemas.openxmlformats.org/officeDocument/2006/relationships/tags" Target="../tags/tag96.xml"/><Relationship Id="rId4" Type="http://schemas.openxmlformats.org/officeDocument/2006/relationships/slideLayout" Target="../slideLayouts/slideLayout333.xml"/><Relationship Id="rId9" Type="http://schemas.openxmlformats.org/officeDocument/2006/relationships/slideLayout" Target="../slideLayouts/slideLayout338.xml"/><Relationship Id="rId14" Type="http://schemas.openxmlformats.org/officeDocument/2006/relationships/slideLayout" Target="../slideLayouts/slideLayout343.xml"/><Relationship Id="rId22" Type="http://schemas.openxmlformats.org/officeDocument/2006/relationships/slideLayout" Target="../slideLayouts/slideLayout351.xml"/><Relationship Id="rId27" Type="http://schemas.openxmlformats.org/officeDocument/2006/relationships/slideLayout" Target="../slideLayouts/slideLayout356.xml"/><Relationship Id="rId30" Type="http://schemas.openxmlformats.org/officeDocument/2006/relationships/vmlDrawing" Target="../drawings/vmlDrawing14.vml"/><Relationship Id="rId8" Type="http://schemas.openxmlformats.org/officeDocument/2006/relationships/slideLayout" Target="../slideLayouts/slideLayout337.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26" Type="http://schemas.openxmlformats.org/officeDocument/2006/relationships/slideLayout" Target="../slideLayouts/slideLayout383.xml"/><Relationship Id="rId3" Type="http://schemas.openxmlformats.org/officeDocument/2006/relationships/slideLayout" Target="../slideLayouts/slideLayout360.xml"/><Relationship Id="rId21" Type="http://schemas.openxmlformats.org/officeDocument/2006/relationships/slideLayout" Target="../slideLayouts/slideLayout378.xml"/><Relationship Id="rId34" Type="http://schemas.openxmlformats.org/officeDocument/2006/relationships/image" Target="../media/image14.png"/><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5" Type="http://schemas.openxmlformats.org/officeDocument/2006/relationships/slideLayout" Target="../slideLayouts/slideLayout382.xml"/><Relationship Id="rId33" Type="http://schemas.openxmlformats.org/officeDocument/2006/relationships/image" Target="../media/image29.emf"/><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29" Type="http://schemas.openxmlformats.org/officeDocument/2006/relationships/theme" Target="../theme/theme12.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24" Type="http://schemas.openxmlformats.org/officeDocument/2006/relationships/slideLayout" Target="../slideLayouts/slideLayout381.xml"/><Relationship Id="rId32" Type="http://schemas.openxmlformats.org/officeDocument/2006/relationships/oleObject" Target="../embeddings/oleObject15.bin"/><Relationship Id="rId5" Type="http://schemas.openxmlformats.org/officeDocument/2006/relationships/slideLayout" Target="../slideLayouts/slideLayout362.xml"/><Relationship Id="rId15" Type="http://schemas.openxmlformats.org/officeDocument/2006/relationships/slideLayout" Target="../slideLayouts/slideLayout372.xml"/><Relationship Id="rId23" Type="http://schemas.openxmlformats.org/officeDocument/2006/relationships/slideLayout" Target="../slideLayouts/slideLayout380.xml"/><Relationship Id="rId28" Type="http://schemas.openxmlformats.org/officeDocument/2006/relationships/slideLayout" Target="../slideLayouts/slideLayout385.xml"/><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31" Type="http://schemas.openxmlformats.org/officeDocument/2006/relationships/tags" Target="../tags/tag99.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slideLayout" Target="../slideLayouts/slideLayout379.xml"/><Relationship Id="rId27" Type="http://schemas.openxmlformats.org/officeDocument/2006/relationships/slideLayout" Target="../slideLayouts/slideLayout384.xml"/><Relationship Id="rId30" Type="http://schemas.openxmlformats.org/officeDocument/2006/relationships/vmlDrawing" Target="../drawings/vmlDrawing15.vml"/><Relationship Id="rId8" Type="http://schemas.openxmlformats.org/officeDocument/2006/relationships/slideLayout" Target="../slideLayouts/slideLayout365.xml"/></Relationships>
</file>

<file path=ppt/slideMasters/_rels/slideMaster13.xml.rels><?xml version="1.0" encoding="UTF-8" standalone="yes"?>
<Relationships xmlns="http://schemas.openxmlformats.org/package/2006/relationships"><Relationship Id="rId8" Type="http://schemas.openxmlformats.org/officeDocument/2006/relationships/oleObject" Target="../embeddings/oleObject16.bin"/><Relationship Id="rId3" Type="http://schemas.openxmlformats.org/officeDocument/2006/relationships/slideLayout" Target="../slideLayouts/slideLayout388.xml"/><Relationship Id="rId7" Type="http://schemas.openxmlformats.org/officeDocument/2006/relationships/tags" Target="../tags/tag102.xml"/><Relationship Id="rId2" Type="http://schemas.openxmlformats.org/officeDocument/2006/relationships/slideLayout" Target="../slideLayouts/slideLayout387.xml"/><Relationship Id="rId1" Type="http://schemas.openxmlformats.org/officeDocument/2006/relationships/slideLayout" Target="../slideLayouts/slideLayout386.xml"/><Relationship Id="rId6" Type="http://schemas.openxmlformats.org/officeDocument/2006/relationships/vmlDrawing" Target="../drawings/vmlDrawing16.vml"/><Relationship Id="rId5" Type="http://schemas.openxmlformats.org/officeDocument/2006/relationships/theme" Target="../theme/theme13.xml"/><Relationship Id="rId4" Type="http://schemas.openxmlformats.org/officeDocument/2006/relationships/slideLayout" Target="../slideLayouts/slideLayout389.xml"/><Relationship Id="rId9" Type="http://schemas.openxmlformats.org/officeDocument/2006/relationships/image" Target="../media/image30.emf"/></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5.vml"/><Relationship Id="rId3" Type="http://schemas.openxmlformats.org/officeDocument/2006/relationships/slideLayout" Target="../slideLayouts/slideLayout10.xml"/><Relationship Id="rId7" Type="http://schemas.openxmlformats.org/officeDocument/2006/relationships/theme" Target="../theme/theme2.xml"/><Relationship Id="rId12" Type="http://schemas.openxmlformats.org/officeDocument/2006/relationships/image" Target="../media/image12.png"/><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image" Target="../media/image11.emf"/><Relationship Id="rId5" Type="http://schemas.openxmlformats.org/officeDocument/2006/relationships/slideLayout" Target="../slideLayouts/slideLayout12.xml"/><Relationship Id="rId10" Type="http://schemas.openxmlformats.org/officeDocument/2006/relationships/oleObject" Target="../embeddings/oleObject5.bin"/><Relationship Id="rId4" Type="http://schemas.openxmlformats.org/officeDocument/2006/relationships/slideLayout" Target="../slideLayouts/slideLayout11.xml"/><Relationship Id="rId9"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117" Type="http://schemas.openxmlformats.org/officeDocument/2006/relationships/slideLayout" Target="../slideLayouts/slideLayout130.xml"/><Relationship Id="rId21" Type="http://schemas.openxmlformats.org/officeDocument/2006/relationships/slideLayout" Target="../slideLayouts/slideLayout34.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63" Type="http://schemas.openxmlformats.org/officeDocument/2006/relationships/slideLayout" Target="../slideLayouts/slideLayout76.xml"/><Relationship Id="rId68" Type="http://schemas.openxmlformats.org/officeDocument/2006/relationships/slideLayout" Target="../slideLayouts/slideLayout81.xml"/><Relationship Id="rId84" Type="http://schemas.openxmlformats.org/officeDocument/2006/relationships/slideLayout" Target="../slideLayouts/slideLayout97.xml"/><Relationship Id="rId89" Type="http://schemas.openxmlformats.org/officeDocument/2006/relationships/slideLayout" Target="../slideLayouts/slideLayout102.xml"/><Relationship Id="rId112" Type="http://schemas.openxmlformats.org/officeDocument/2006/relationships/slideLayout" Target="../slideLayouts/slideLayout125.xml"/><Relationship Id="rId16" Type="http://schemas.openxmlformats.org/officeDocument/2006/relationships/slideLayout" Target="../slideLayouts/slideLayout29.xml"/><Relationship Id="rId107" Type="http://schemas.openxmlformats.org/officeDocument/2006/relationships/slideLayout" Target="../slideLayouts/slideLayout120.xml"/><Relationship Id="rId11" Type="http://schemas.openxmlformats.org/officeDocument/2006/relationships/slideLayout" Target="../slideLayouts/slideLayout24.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53" Type="http://schemas.openxmlformats.org/officeDocument/2006/relationships/slideLayout" Target="../slideLayouts/slideLayout66.xml"/><Relationship Id="rId58" Type="http://schemas.openxmlformats.org/officeDocument/2006/relationships/slideLayout" Target="../slideLayouts/slideLayout71.xml"/><Relationship Id="rId74" Type="http://schemas.openxmlformats.org/officeDocument/2006/relationships/slideLayout" Target="../slideLayouts/slideLayout87.xml"/><Relationship Id="rId79" Type="http://schemas.openxmlformats.org/officeDocument/2006/relationships/slideLayout" Target="../slideLayouts/slideLayout92.xml"/><Relationship Id="rId102" Type="http://schemas.openxmlformats.org/officeDocument/2006/relationships/slideLayout" Target="../slideLayouts/slideLayout115.xml"/><Relationship Id="rId123" Type="http://schemas.openxmlformats.org/officeDocument/2006/relationships/slideLayout" Target="../slideLayouts/slideLayout136.xml"/><Relationship Id="rId128" Type="http://schemas.openxmlformats.org/officeDocument/2006/relationships/oleObject" Target="../embeddings/oleObject6.bin"/><Relationship Id="rId5" Type="http://schemas.openxmlformats.org/officeDocument/2006/relationships/slideLayout" Target="../slideLayouts/slideLayout18.xml"/><Relationship Id="rId90" Type="http://schemas.openxmlformats.org/officeDocument/2006/relationships/slideLayout" Target="../slideLayouts/slideLayout103.xml"/><Relationship Id="rId95" Type="http://schemas.openxmlformats.org/officeDocument/2006/relationships/slideLayout" Target="../slideLayouts/slideLayout108.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64" Type="http://schemas.openxmlformats.org/officeDocument/2006/relationships/slideLayout" Target="../slideLayouts/slideLayout77.xml"/><Relationship Id="rId69" Type="http://schemas.openxmlformats.org/officeDocument/2006/relationships/slideLayout" Target="../slideLayouts/slideLayout82.xml"/><Relationship Id="rId113" Type="http://schemas.openxmlformats.org/officeDocument/2006/relationships/slideLayout" Target="../slideLayouts/slideLayout126.xml"/><Relationship Id="rId118" Type="http://schemas.openxmlformats.org/officeDocument/2006/relationships/slideLayout" Target="../slideLayouts/slideLayout131.xml"/><Relationship Id="rId80" Type="http://schemas.openxmlformats.org/officeDocument/2006/relationships/slideLayout" Target="../slideLayouts/slideLayout93.xml"/><Relationship Id="rId85" Type="http://schemas.openxmlformats.org/officeDocument/2006/relationships/slideLayout" Target="../slideLayouts/slideLayout98.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59" Type="http://schemas.openxmlformats.org/officeDocument/2006/relationships/slideLayout" Target="../slideLayouts/slideLayout72.xml"/><Relationship Id="rId103" Type="http://schemas.openxmlformats.org/officeDocument/2006/relationships/slideLayout" Target="../slideLayouts/slideLayout116.xml"/><Relationship Id="rId108" Type="http://schemas.openxmlformats.org/officeDocument/2006/relationships/slideLayout" Target="../slideLayouts/slideLayout121.xml"/><Relationship Id="rId124" Type="http://schemas.openxmlformats.org/officeDocument/2006/relationships/slideLayout" Target="../slideLayouts/slideLayout137.xml"/><Relationship Id="rId129" Type="http://schemas.openxmlformats.org/officeDocument/2006/relationships/image" Target="../media/image13.emf"/><Relationship Id="rId54" Type="http://schemas.openxmlformats.org/officeDocument/2006/relationships/slideLayout" Target="../slideLayouts/slideLayout67.xml"/><Relationship Id="rId70" Type="http://schemas.openxmlformats.org/officeDocument/2006/relationships/slideLayout" Target="../slideLayouts/slideLayout83.xml"/><Relationship Id="rId75" Type="http://schemas.openxmlformats.org/officeDocument/2006/relationships/slideLayout" Target="../slideLayouts/slideLayout88.xml"/><Relationship Id="rId91" Type="http://schemas.openxmlformats.org/officeDocument/2006/relationships/slideLayout" Target="../slideLayouts/slideLayout104.xml"/><Relationship Id="rId96" Type="http://schemas.openxmlformats.org/officeDocument/2006/relationships/slideLayout" Target="../slideLayouts/slideLayout10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49" Type="http://schemas.openxmlformats.org/officeDocument/2006/relationships/slideLayout" Target="../slideLayouts/slideLayout62.xml"/><Relationship Id="rId114" Type="http://schemas.openxmlformats.org/officeDocument/2006/relationships/slideLayout" Target="../slideLayouts/slideLayout127.xml"/><Relationship Id="rId119" Type="http://schemas.openxmlformats.org/officeDocument/2006/relationships/slideLayout" Target="../slideLayouts/slideLayout132.xml"/><Relationship Id="rId44" Type="http://schemas.openxmlformats.org/officeDocument/2006/relationships/slideLayout" Target="../slideLayouts/slideLayout57.xml"/><Relationship Id="rId60" Type="http://schemas.openxmlformats.org/officeDocument/2006/relationships/slideLayout" Target="../slideLayouts/slideLayout73.xml"/><Relationship Id="rId65" Type="http://schemas.openxmlformats.org/officeDocument/2006/relationships/slideLayout" Target="../slideLayouts/slideLayout78.xml"/><Relationship Id="rId81" Type="http://schemas.openxmlformats.org/officeDocument/2006/relationships/slideLayout" Target="../slideLayouts/slideLayout94.xml"/><Relationship Id="rId86" Type="http://schemas.openxmlformats.org/officeDocument/2006/relationships/slideLayout" Target="../slideLayouts/slideLayout99.xml"/><Relationship Id="rId130" Type="http://schemas.openxmlformats.org/officeDocument/2006/relationships/image" Target="../media/image14.png"/><Relationship Id="rId13" Type="http://schemas.openxmlformats.org/officeDocument/2006/relationships/slideLayout" Target="../slideLayouts/slideLayout26.xml"/><Relationship Id="rId18" Type="http://schemas.openxmlformats.org/officeDocument/2006/relationships/slideLayout" Target="../slideLayouts/slideLayout31.xml"/><Relationship Id="rId39" Type="http://schemas.openxmlformats.org/officeDocument/2006/relationships/slideLayout" Target="../slideLayouts/slideLayout52.xml"/><Relationship Id="rId109" Type="http://schemas.openxmlformats.org/officeDocument/2006/relationships/slideLayout" Target="../slideLayouts/slideLayout122.xml"/><Relationship Id="rId34" Type="http://schemas.openxmlformats.org/officeDocument/2006/relationships/slideLayout" Target="../slideLayouts/slideLayout47.xml"/><Relationship Id="rId50" Type="http://schemas.openxmlformats.org/officeDocument/2006/relationships/slideLayout" Target="../slideLayouts/slideLayout63.xml"/><Relationship Id="rId55" Type="http://schemas.openxmlformats.org/officeDocument/2006/relationships/slideLayout" Target="../slideLayouts/slideLayout68.xml"/><Relationship Id="rId76" Type="http://schemas.openxmlformats.org/officeDocument/2006/relationships/slideLayout" Target="../slideLayouts/slideLayout89.xml"/><Relationship Id="rId97" Type="http://schemas.openxmlformats.org/officeDocument/2006/relationships/slideLayout" Target="../slideLayouts/slideLayout110.xml"/><Relationship Id="rId104" Type="http://schemas.openxmlformats.org/officeDocument/2006/relationships/slideLayout" Target="../slideLayouts/slideLayout117.xml"/><Relationship Id="rId120" Type="http://schemas.openxmlformats.org/officeDocument/2006/relationships/slideLayout" Target="../slideLayouts/slideLayout133.xml"/><Relationship Id="rId125" Type="http://schemas.openxmlformats.org/officeDocument/2006/relationships/theme" Target="../theme/theme3.xml"/><Relationship Id="rId7" Type="http://schemas.openxmlformats.org/officeDocument/2006/relationships/slideLayout" Target="../slideLayouts/slideLayout20.xml"/><Relationship Id="rId71" Type="http://schemas.openxmlformats.org/officeDocument/2006/relationships/slideLayout" Target="../slideLayouts/slideLayout84.xml"/><Relationship Id="rId92" Type="http://schemas.openxmlformats.org/officeDocument/2006/relationships/slideLayout" Target="../slideLayouts/slideLayout105.xml"/><Relationship Id="rId2" Type="http://schemas.openxmlformats.org/officeDocument/2006/relationships/slideLayout" Target="../slideLayouts/slideLayout15.xml"/><Relationship Id="rId29" Type="http://schemas.openxmlformats.org/officeDocument/2006/relationships/slideLayout" Target="../slideLayouts/slideLayout42.xml"/><Relationship Id="rId24" Type="http://schemas.openxmlformats.org/officeDocument/2006/relationships/slideLayout" Target="../slideLayouts/slideLayout37.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66" Type="http://schemas.openxmlformats.org/officeDocument/2006/relationships/slideLayout" Target="../slideLayouts/slideLayout79.xml"/><Relationship Id="rId87" Type="http://schemas.openxmlformats.org/officeDocument/2006/relationships/slideLayout" Target="../slideLayouts/slideLayout100.xml"/><Relationship Id="rId110" Type="http://schemas.openxmlformats.org/officeDocument/2006/relationships/slideLayout" Target="../slideLayouts/slideLayout123.xml"/><Relationship Id="rId115" Type="http://schemas.openxmlformats.org/officeDocument/2006/relationships/slideLayout" Target="../slideLayouts/slideLayout128.xml"/><Relationship Id="rId61" Type="http://schemas.openxmlformats.org/officeDocument/2006/relationships/slideLayout" Target="../slideLayouts/slideLayout74.xml"/><Relationship Id="rId82" Type="http://schemas.openxmlformats.org/officeDocument/2006/relationships/slideLayout" Target="../slideLayouts/slideLayout95.xml"/><Relationship Id="rId19" Type="http://schemas.openxmlformats.org/officeDocument/2006/relationships/slideLayout" Target="../slideLayouts/slideLayout32.xml"/><Relationship Id="rId14" Type="http://schemas.openxmlformats.org/officeDocument/2006/relationships/slideLayout" Target="../slideLayouts/slideLayout27.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56" Type="http://schemas.openxmlformats.org/officeDocument/2006/relationships/slideLayout" Target="../slideLayouts/slideLayout69.xml"/><Relationship Id="rId77" Type="http://schemas.openxmlformats.org/officeDocument/2006/relationships/slideLayout" Target="../slideLayouts/slideLayout90.xml"/><Relationship Id="rId100" Type="http://schemas.openxmlformats.org/officeDocument/2006/relationships/slideLayout" Target="../slideLayouts/slideLayout113.xml"/><Relationship Id="rId105" Type="http://schemas.openxmlformats.org/officeDocument/2006/relationships/slideLayout" Target="../slideLayouts/slideLayout118.xml"/><Relationship Id="rId126" Type="http://schemas.openxmlformats.org/officeDocument/2006/relationships/vmlDrawing" Target="../drawings/vmlDrawing6.vml"/><Relationship Id="rId8" Type="http://schemas.openxmlformats.org/officeDocument/2006/relationships/slideLayout" Target="../slideLayouts/slideLayout21.xml"/><Relationship Id="rId51" Type="http://schemas.openxmlformats.org/officeDocument/2006/relationships/slideLayout" Target="../slideLayouts/slideLayout64.xml"/><Relationship Id="rId72" Type="http://schemas.openxmlformats.org/officeDocument/2006/relationships/slideLayout" Target="../slideLayouts/slideLayout85.xml"/><Relationship Id="rId93" Type="http://schemas.openxmlformats.org/officeDocument/2006/relationships/slideLayout" Target="../slideLayouts/slideLayout106.xml"/><Relationship Id="rId98" Type="http://schemas.openxmlformats.org/officeDocument/2006/relationships/slideLayout" Target="../slideLayouts/slideLayout111.xml"/><Relationship Id="rId121" Type="http://schemas.openxmlformats.org/officeDocument/2006/relationships/slideLayout" Target="../slideLayouts/slideLayout134.xml"/><Relationship Id="rId3" Type="http://schemas.openxmlformats.org/officeDocument/2006/relationships/slideLayout" Target="../slideLayouts/slideLayout16.xml"/><Relationship Id="rId25" Type="http://schemas.openxmlformats.org/officeDocument/2006/relationships/slideLayout" Target="../slideLayouts/slideLayout38.xml"/><Relationship Id="rId46" Type="http://schemas.openxmlformats.org/officeDocument/2006/relationships/slideLayout" Target="../slideLayouts/slideLayout59.xml"/><Relationship Id="rId67" Type="http://schemas.openxmlformats.org/officeDocument/2006/relationships/slideLayout" Target="../slideLayouts/slideLayout80.xml"/><Relationship Id="rId116" Type="http://schemas.openxmlformats.org/officeDocument/2006/relationships/slideLayout" Target="../slideLayouts/slideLayout12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62" Type="http://schemas.openxmlformats.org/officeDocument/2006/relationships/slideLayout" Target="../slideLayouts/slideLayout75.xml"/><Relationship Id="rId83" Type="http://schemas.openxmlformats.org/officeDocument/2006/relationships/slideLayout" Target="../slideLayouts/slideLayout96.xml"/><Relationship Id="rId88" Type="http://schemas.openxmlformats.org/officeDocument/2006/relationships/slideLayout" Target="../slideLayouts/slideLayout101.xml"/><Relationship Id="rId111" Type="http://schemas.openxmlformats.org/officeDocument/2006/relationships/slideLayout" Target="../slideLayouts/slideLayout124.xml"/><Relationship Id="rId15" Type="http://schemas.openxmlformats.org/officeDocument/2006/relationships/slideLayout" Target="../slideLayouts/slideLayout28.xml"/><Relationship Id="rId36" Type="http://schemas.openxmlformats.org/officeDocument/2006/relationships/slideLayout" Target="../slideLayouts/slideLayout49.xml"/><Relationship Id="rId57" Type="http://schemas.openxmlformats.org/officeDocument/2006/relationships/slideLayout" Target="../slideLayouts/slideLayout70.xml"/><Relationship Id="rId106" Type="http://schemas.openxmlformats.org/officeDocument/2006/relationships/slideLayout" Target="../slideLayouts/slideLayout119.xml"/><Relationship Id="rId127" Type="http://schemas.openxmlformats.org/officeDocument/2006/relationships/tags" Target="../tags/tag8.xml"/><Relationship Id="rId10" Type="http://schemas.openxmlformats.org/officeDocument/2006/relationships/slideLayout" Target="../slideLayouts/slideLayout23.xml"/><Relationship Id="rId31" Type="http://schemas.openxmlformats.org/officeDocument/2006/relationships/slideLayout" Target="../slideLayouts/slideLayout44.xml"/><Relationship Id="rId52" Type="http://schemas.openxmlformats.org/officeDocument/2006/relationships/slideLayout" Target="../slideLayouts/slideLayout65.xml"/><Relationship Id="rId73" Type="http://schemas.openxmlformats.org/officeDocument/2006/relationships/slideLayout" Target="../slideLayouts/slideLayout86.xml"/><Relationship Id="rId78" Type="http://schemas.openxmlformats.org/officeDocument/2006/relationships/slideLayout" Target="../slideLayouts/slideLayout91.xml"/><Relationship Id="rId94" Type="http://schemas.openxmlformats.org/officeDocument/2006/relationships/slideLayout" Target="../slideLayouts/slideLayout107.xml"/><Relationship Id="rId99" Type="http://schemas.openxmlformats.org/officeDocument/2006/relationships/slideLayout" Target="../slideLayouts/slideLayout112.xml"/><Relationship Id="rId101" Type="http://schemas.openxmlformats.org/officeDocument/2006/relationships/slideLayout" Target="../slideLayouts/slideLayout114.xml"/><Relationship Id="rId122" Type="http://schemas.openxmlformats.org/officeDocument/2006/relationships/slideLayout" Target="../slideLayouts/slideLayout13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26"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50.xml"/><Relationship Id="rId18" Type="http://schemas.openxmlformats.org/officeDocument/2006/relationships/slideLayout" Target="../slideLayouts/slideLayout155.xml"/><Relationship Id="rId26" Type="http://schemas.openxmlformats.org/officeDocument/2006/relationships/slideLayout" Target="../slideLayouts/slideLayout163.xml"/><Relationship Id="rId3" Type="http://schemas.openxmlformats.org/officeDocument/2006/relationships/slideLayout" Target="../slideLayouts/slideLayout140.xml"/><Relationship Id="rId21" Type="http://schemas.openxmlformats.org/officeDocument/2006/relationships/slideLayout" Target="../slideLayouts/slideLayout158.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slideLayout" Target="../slideLayouts/slideLayout154.xml"/><Relationship Id="rId25" Type="http://schemas.openxmlformats.org/officeDocument/2006/relationships/slideLayout" Target="../slideLayouts/slideLayout162.xml"/><Relationship Id="rId33" Type="http://schemas.openxmlformats.org/officeDocument/2006/relationships/image" Target="../media/image14.png"/><Relationship Id="rId2" Type="http://schemas.openxmlformats.org/officeDocument/2006/relationships/slideLayout" Target="../slideLayouts/slideLayout139.xml"/><Relationship Id="rId16" Type="http://schemas.openxmlformats.org/officeDocument/2006/relationships/slideLayout" Target="../slideLayouts/slideLayout153.xml"/><Relationship Id="rId20" Type="http://schemas.openxmlformats.org/officeDocument/2006/relationships/slideLayout" Target="../slideLayouts/slideLayout157.xml"/><Relationship Id="rId29" Type="http://schemas.openxmlformats.org/officeDocument/2006/relationships/vmlDrawing" Target="../drawings/vmlDrawing7.vml"/><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24" Type="http://schemas.openxmlformats.org/officeDocument/2006/relationships/slideLayout" Target="../slideLayouts/slideLayout161.xml"/><Relationship Id="rId32" Type="http://schemas.openxmlformats.org/officeDocument/2006/relationships/image" Target="../media/image20.emf"/><Relationship Id="rId5" Type="http://schemas.openxmlformats.org/officeDocument/2006/relationships/slideLayout" Target="../slideLayouts/slideLayout142.xml"/><Relationship Id="rId15" Type="http://schemas.openxmlformats.org/officeDocument/2006/relationships/slideLayout" Target="../slideLayouts/slideLayout152.xml"/><Relationship Id="rId23" Type="http://schemas.openxmlformats.org/officeDocument/2006/relationships/slideLayout" Target="../slideLayouts/slideLayout160.xml"/><Relationship Id="rId28" Type="http://schemas.openxmlformats.org/officeDocument/2006/relationships/theme" Target="../theme/theme4.xml"/><Relationship Id="rId10" Type="http://schemas.openxmlformats.org/officeDocument/2006/relationships/slideLayout" Target="../slideLayouts/slideLayout147.xml"/><Relationship Id="rId19" Type="http://schemas.openxmlformats.org/officeDocument/2006/relationships/slideLayout" Target="../slideLayouts/slideLayout156.xml"/><Relationship Id="rId31" Type="http://schemas.openxmlformats.org/officeDocument/2006/relationships/oleObject" Target="../embeddings/oleObject7.bin"/><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slideLayout" Target="../slideLayouts/slideLayout151.xml"/><Relationship Id="rId22" Type="http://schemas.openxmlformats.org/officeDocument/2006/relationships/slideLayout" Target="../slideLayouts/slideLayout159.xml"/><Relationship Id="rId27" Type="http://schemas.openxmlformats.org/officeDocument/2006/relationships/slideLayout" Target="../slideLayouts/slideLayout164.xml"/><Relationship Id="rId30" Type="http://schemas.openxmlformats.org/officeDocument/2006/relationships/tags" Target="../tags/tag75.xml"/><Relationship Id="rId8" Type="http://schemas.openxmlformats.org/officeDocument/2006/relationships/slideLayout" Target="../slideLayouts/slideLayout145.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77.xml"/><Relationship Id="rId18" Type="http://schemas.openxmlformats.org/officeDocument/2006/relationships/slideLayout" Target="../slideLayouts/slideLayout182.xml"/><Relationship Id="rId26" Type="http://schemas.openxmlformats.org/officeDocument/2006/relationships/slideLayout" Target="../slideLayouts/slideLayout190.xml"/><Relationship Id="rId3" Type="http://schemas.openxmlformats.org/officeDocument/2006/relationships/slideLayout" Target="../slideLayouts/slideLayout167.xml"/><Relationship Id="rId21" Type="http://schemas.openxmlformats.org/officeDocument/2006/relationships/slideLayout" Target="../slideLayouts/slideLayout185.xml"/><Relationship Id="rId7" Type="http://schemas.openxmlformats.org/officeDocument/2006/relationships/slideLayout" Target="../slideLayouts/slideLayout171.xml"/><Relationship Id="rId12" Type="http://schemas.openxmlformats.org/officeDocument/2006/relationships/slideLayout" Target="../slideLayouts/slideLayout176.xml"/><Relationship Id="rId17" Type="http://schemas.openxmlformats.org/officeDocument/2006/relationships/slideLayout" Target="../slideLayouts/slideLayout181.xml"/><Relationship Id="rId25" Type="http://schemas.openxmlformats.org/officeDocument/2006/relationships/slideLayout" Target="../slideLayouts/slideLayout189.xml"/><Relationship Id="rId33" Type="http://schemas.openxmlformats.org/officeDocument/2006/relationships/image" Target="../media/image14.png"/><Relationship Id="rId2" Type="http://schemas.openxmlformats.org/officeDocument/2006/relationships/slideLayout" Target="../slideLayouts/slideLayout166.xml"/><Relationship Id="rId16" Type="http://schemas.openxmlformats.org/officeDocument/2006/relationships/slideLayout" Target="../slideLayouts/slideLayout180.xml"/><Relationship Id="rId20" Type="http://schemas.openxmlformats.org/officeDocument/2006/relationships/slideLayout" Target="../slideLayouts/slideLayout184.xml"/><Relationship Id="rId29" Type="http://schemas.openxmlformats.org/officeDocument/2006/relationships/vmlDrawing" Target="../drawings/vmlDrawing8.v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24" Type="http://schemas.openxmlformats.org/officeDocument/2006/relationships/slideLayout" Target="../slideLayouts/slideLayout188.xml"/><Relationship Id="rId32" Type="http://schemas.openxmlformats.org/officeDocument/2006/relationships/image" Target="../media/image21.emf"/><Relationship Id="rId5" Type="http://schemas.openxmlformats.org/officeDocument/2006/relationships/slideLayout" Target="../slideLayouts/slideLayout169.xml"/><Relationship Id="rId15" Type="http://schemas.openxmlformats.org/officeDocument/2006/relationships/slideLayout" Target="../slideLayouts/slideLayout179.xml"/><Relationship Id="rId23" Type="http://schemas.openxmlformats.org/officeDocument/2006/relationships/slideLayout" Target="../slideLayouts/slideLayout187.xml"/><Relationship Id="rId28" Type="http://schemas.openxmlformats.org/officeDocument/2006/relationships/theme" Target="../theme/theme5.xml"/><Relationship Id="rId10" Type="http://schemas.openxmlformats.org/officeDocument/2006/relationships/slideLayout" Target="../slideLayouts/slideLayout174.xml"/><Relationship Id="rId19" Type="http://schemas.openxmlformats.org/officeDocument/2006/relationships/slideLayout" Target="../slideLayouts/slideLayout183.xml"/><Relationship Id="rId31" Type="http://schemas.openxmlformats.org/officeDocument/2006/relationships/oleObject" Target="../embeddings/oleObject8.bin"/><Relationship Id="rId4" Type="http://schemas.openxmlformats.org/officeDocument/2006/relationships/slideLayout" Target="../slideLayouts/slideLayout168.xml"/><Relationship Id="rId9" Type="http://schemas.openxmlformats.org/officeDocument/2006/relationships/slideLayout" Target="../slideLayouts/slideLayout173.xml"/><Relationship Id="rId14" Type="http://schemas.openxmlformats.org/officeDocument/2006/relationships/slideLayout" Target="../slideLayouts/slideLayout178.xml"/><Relationship Id="rId22" Type="http://schemas.openxmlformats.org/officeDocument/2006/relationships/slideLayout" Target="../slideLayouts/slideLayout186.xml"/><Relationship Id="rId27" Type="http://schemas.openxmlformats.org/officeDocument/2006/relationships/slideLayout" Target="../slideLayouts/slideLayout191.xml"/><Relationship Id="rId30" Type="http://schemas.openxmlformats.org/officeDocument/2006/relationships/tags" Target="../tags/tag78.xml"/><Relationship Id="rId8" Type="http://schemas.openxmlformats.org/officeDocument/2006/relationships/slideLayout" Target="../slideLayouts/slideLayout172.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204.xml"/><Relationship Id="rId18" Type="http://schemas.openxmlformats.org/officeDocument/2006/relationships/slideLayout" Target="../slideLayouts/slideLayout209.xml"/><Relationship Id="rId26" Type="http://schemas.openxmlformats.org/officeDocument/2006/relationships/slideLayout" Target="../slideLayouts/slideLayout217.xml"/><Relationship Id="rId3" Type="http://schemas.openxmlformats.org/officeDocument/2006/relationships/slideLayout" Target="../slideLayouts/slideLayout194.xml"/><Relationship Id="rId21" Type="http://schemas.openxmlformats.org/officeDocument/2006/relationships/slideLayout" Target="../slideLayouts/slideLayout212.xml"/><Relationship Id="rId7" Type="http://schemas.openxmlformats.org/officeDocument/2006/relationships/slideLayout" Target="../slideLayouts/slideLayout198.xml"/><Relationship Id="rId12" Type="http://schemas.openxmlformats.org/officeDocument/2006/relationships/slideLayout" Target="../slideLayouts/slideLayout203.xml"/><Relationship Id="rId17" Type="http://schemas.openxmlformats.org/officeDocument/2006/relationships/slideLayout" Target="../slideLayouts/slideLayout208.xml"/><Relationship Id="rId25" Type="http://schemas.openxmlformats.org/officeDocument/2006/relationships/slideLayout" Target="../slideLayouts/slideLayout216.xml"/><Relationship Id="rId33" Type="http://schemas.openxmlformats.org/officeDocument/2006/relationships/image" Target="../media/image14.png"/><Relationship Id="rId2" Type="http://schemas.openxmlformats.org/officeDocument/2006/relationships/slideLayout" Target="../slideLayouts/slideLayout193.xml"/><Relationship Id="rId16" Type="http://schemas.openxmlformats.org/officeDocument/2006/relationships/slideLayout" Target="../slideLayouts/slideLayout207.xml"/><Relationship Id="rId20" Type="http://schemas.openxmlformats.org/officeDocument/2006/relationships/slideLayout" Target="../slideLayouts/slideLayout211.xml"/><Relationship Id="rId29" Type="http://schemas.openxmlformats.org/officeDocument/2006/relationships/vmlDrawing" Target="../drawings/vmlDrawing9.vml"/><Relationship Id="rId1" Type="http://schemas.openxmlformats.org/officeDocument/2006/relationships/slideLayout" Target="../slideLayouts/slideLayout192.xml"/><Relationship Id="rId6" Type="http://schemas.openxmlformats.org/officeDocument/2006/relationships/slideLayout" Target="../slideLayouts/slideLayout197.xml"/><Relationship Id="rId11" Type="http://schemas.openxmlformats.org/officeDocument/2006/relationships/slideLayout" Target="../slideLayouts/slideLayout202.xml"/><Relationship Id="rId24" Type="http://schemas.openxmlformats.org/officeDocument/2006/relationships/slideLayout" Target="../slideLayouts/slideLayout215.xml"/><Relationship Id="rId32" Type="http://schemas.openxmlformats.org/officeDocument/2006/relationships/image" Target="../media/image22.emf"/><Relationship Id="rId5" Type="http://schemas.openxmlformats.org/officeDocument/2006/relationships/slideLayout" Target="../slideLayouts/slideLayout196.xml"/><Relationship Id="rId15" Type="http://schemas.openxmlformats.org/officeDocument/2006/relationships/slideLayout" Target="../slideLayouts/slideLayout206.xml"/><Relationship Id="rId23" Type="http://schemas.openxmlformats.org/officeDocument/2006/relationships/slideLayout" Target="../slideLayouts/slideLayout214.xml"/><Relationship Id="rId28" Type="http://schemas.openxmlformats.org/officeDocument/2006/relationships/theme" Target="../theme/theme6.xml"/><Relationship Id="rId10" Type="http://schemas.openxmlformats.org/officeDocument/2006/relationships/slideLayout" Target="../slideLayouts/slideLayout201.xml"/><Relationship Id="rId19" Type="http://schemas.openxmlformats.org/officeDocument/2006/relationships/slideLayout" Target="../slideLayouts/slideLayout210.xml"/><Relationship Id="rId31" Type="http://schemas.openxmlformats.org/officeDocument/2006/relationships/oleObject" Target="../embeddings/oleObject9.bin"/><Relationship Id="rId4" Type="http://schemas.openxmlformats.org/officeDocument/2006/relationships/slideLayout" Target="../slideLayouts/slideLayout195.xml"/><Relationship Id="rId9" Type="http://schemas.openxmlformats.org/officeDocument/2006/relationships/slideLayout" Target="../slideLayouts/slideLayout200.xml"/><Relationship Id="rId14" Type="http://schemas.openxmlformats.org/officeDocument/2006/relationships/slideLayout" Target="../slideLayouts/slideLayout205.xml"/><Relationship Id="rId22" Type="http://schemas.openxmlformats.org/officeDocument/2006/relationships/slideLayout" Target="../slideLayouts/slideLayout213.xml"/><Relationship Id="rId27" Type="http://schemas.openxmlformats.org/officeDocument/2006/relationships/slideLayout" Target="../slideLayouts/slideLayout218.xml"/><Relationship Id="rId30" Type="http://schemas.openxmlformats.org/officeDocument/2006/relationships/tags" Target="../tags/tag81.xml"/><Relationship Id="rId8" Type="http://schemas.openxmlformats.org/officeDocument/2006/relationships/slideLayout" Target="../slideLayouts/slideLayout199.xml"/></Relationships>
</file>

<file path=ppt/slideMasters/_rels/slideMaster7.xml.rels><?xml version="1.0" encoding="UTF-8" standalone="yes"?>
<Relationships xmlns="http://schemas.openxmlformats.org/package/2006/relationships"><Relationship Id="rId13" Type="http://schemas.openxmlformats.org/officeDocument/2006/relationships/slideLayout" Target="../slideLayouts/slideLayout231.xml"/><Relationship Id="rId18" Type="http://schemas.openxmlformats.org/officeDocument/2006/relationships/slideLayout" Target="../slideLayouts/slideLayout236.xml"/><Relationship Id="rId26" Type="http://schemas.openxmlformats.org/officeDocument/2006/relationships/slideLayout" Target="../slideLayouts/slideLayout244.xml"/><Relationship Id="rId3" Type="http://schemas.openxmlformats.org/officeDocument/2006/relationships/slideLayout" Target="../slideLayouts/slideLayout221.xml"/><Relationship Id="rId21" Type="http://schemas.openxmlformats.org/officeDocument/2006/relationships/slideLayout" Target="../slideLayouts/slideLayout239.xml"/><Relationship Id="rId7" Type="http://schemas.openxmlformats.org/officeDocument/2006/relationships/slideLayout" Target="../slideLayouts/slideLayout225.xml"/><Relationship Id="rId12" Type="http://schemas.openxmlformats.org/officeDocument/2006/relationships/slideLayout" Target="../slideLayouts/slideLayout230.xml"/><Relationship Id="rId17" Type="http://schemas.openxmlformats.org/officeDocument/2006/relationships/slideLayout" Target="../slideLayouts/slideLayout235.xml"/><Relationship Id="rId25" Type="http://schemas.openxmlformats.org/officeDocument/2006/relationships/slideLayout" Target="../slideLayouts/slideLayout243.xml"/><Relationship Id="rId33" Type="http://schemas.openxmlformats.org/officeDocument/2006/relationships/image" Target="../media/image14.png"/><Relationship Id="rId2" Type="http://schemas.openxmlformats.org/officeDocument/2006/relationships/slideLayout" Target="../slideLayouts/slideLayout220.xml"/><Relationship Id="rId16" Type="http://schemas.openxmlformats.org/officeDocument/2006/relationships/slideLayout" Target="../slideLayouts/slideLayout234.xml"/><Relationship Id="rId20" Type="http://schemas.openxmlformats.org/officeDocument/2006/relationships/slideLayout" Target="../slideLayouts/slideLayout238.xml"/><Relationship Id="rId29" Type="http://schemas.openxmlformats.org/officeDocument/2006/relationships/vmlDrawing" Target="../drawings/vmlDrawing10.vml"/><Relationship Id="rId1" Type="http://schemas.openxmlformats.org/officeDocument/2006/relationships/slideLayout" Target="../slideLayouts/slideLayout219.xml"/><Relationship Id="rId6" Type="http://schemas.openxmlformats.org/officeDocument/2006/relationships/slideLayout" Target="../slideLayouts/slideLayout224.xml"/><Relationship Id="rId11" Type="http://schemas.openxmlformats.org/officeDocument/2006/relationships/slideLayout" Target="../slideLayouts/slideLayout229.xml"/><Relationship Id="rId24" Type="http://schemas.openxmlformats.org/officeDocument/2006/relationships/slideLayout" Target="../slideLayouts/slideLayout242.xml"/><Relationship Id="rId32" Type="http://schemas.openxmlformats.org/officeDocument/2006/relationships/image" Target="../media/image23.emf"/><Relationship Id="rId5" Type="http://schemas.openxmlformats.org/officeDocument/2006/relationships/slideLayout" Target="../slideLayouts/slideLayout223.xml"/><Relationship Id="rId15" Type="http://schemas.openxmlformats.org/officeDocument/2006/relationships/slideLayout" Target="../slideLayouts/slideLayout233.xml"/><Relationship Id="rId23" Type="http://schemas.openxmlformats.org/officeDocument/2006/relationships/slideLayout" Target="../slideLayouts/slideLayout241.xml"/><Relationship Id="rId28" Type="http://schemas.openxmlformats.org/officeDocument/2006/relationships/theme" Target="../theme/theme7.xml"/><Relationship Id="rId10" Type="http://schemas.openxmlformats.org/officeDocument/2006/relationships/slideLayout" Target="../slideLayouts/slideLayout228.xml"/><Relationship Id="rId19" Type="http://schemas.openxmlformats.org/officeDocument/2006/relationships/slideLayout" Target="../slideLayouts/slideLayout237.xml"/><Relationship Id="rId31" Type="http://schemas.openxmlformats.org/officeDocument/2006/relationships/oleObject" Target="../embeddings/oleObject10.bin"/><Relationship Id="rId4" Type="http://schemas.openxmlformats.org/officeDocument/2006/relationships/slideLayout" Target="../slideLayouts/slideLayout222.xml"/><Relationship Id="rId9" Type="http://schemas.openxmlformats.org/officeDocument/2006/relationships/slideLayout" Target="../slideLayouts/slideLayout227.xml"/><Relationship Id="rId14" Type="http://schemas.openxmlformats.org/officeDocument/2006/relationships/slideLayout" Target="../slideLayouts/slideLayout232.xml"/><Relationship Id="rId22" Type="http://schemas.openxmlformats.org/officeDocument/2006/relationships/slideLayout" Target="../slideLayouts/slideLayout240.xml"/><Relationship Id="rId27" Type="http://schemas.openxmlformats.org/officeDocument/2006/relationships/slideLayout" Target="../slideLayouts/slideLayout245.xml"/><Relationship Id="rId30" Type="http://schemas.openxmlformats.org/officeDocument/2006/relationships/tags" Target="../tags/tag84.xml"/><Relationship Id="rId8" Type="http://schemas.openxmlformats.org/officeDocument/2006/relationships/slideLayout" Target="../slideLayouts/slideLayout226.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258.xml"/><Relationship Id="rId18" Type="http://schemas.openxmlformats.org/officeDocument/2006/relationships/slideLayout" Target="../slideLayouts/slideLayout263.xml"/><Relationship Id="rId26" Type="http://schemas.openxmlformats.org/officeDocument/2006/relationships/slideLayout" Target="../slideLayouts/slideLayout271.xml"/><Relationship Id="rId3" Type="http://schemas.openxmlformats.org/officeDocument/2006/relationships/slideLayout" Target="../slideLayouts/slideLayout248.xml"/><Relationship Id="rId21" Type="http://schemas.openxmlformats.org/officeDocument/2006/relationships/slideLayout" Target="../slideLayouts/slideLayout266.xml"/><Relationship Id="rId34" Type="http://schemas.openxmlformats.org/officeDocument/2006/relationships/image" Target="../media/image24.emf"/><Relationship Id="rId7" Type="http://schemas.openxmlformats.org/officeDocument/2006/relationships/slideLayout" Target="../slideLayouts/slideLayout252.xml"/><Relationship Id="rId12" Type="http://schemas.openxmlformats.org/officeDocument/2006/relationships/slideLayout" Target="../slideLayouts/slideLayout257.xml"/><Relationship Id="rId17" Type="http://schemas.openxmlformats.org/officeDocument/2006/relationships/slideLayout" Target="../slideLayouts/slideLayout262.xml"/><Relationship Id="rId25" Type="http://schemas.openxmlformats.org/officeDocument/2006/relationships/slideLayout" Target="../slideLayouts/slideLayout270.xml"/><Relationship Id="rId33" Type="http://schemas.openxmlformats.org/officeDocument/2006/relationships/oleObject" Target="../embeddings/oleObject11.bin"/><Relationship Id="rId2" Type="http://schemas.openxmlformats.org/officeDocument/2006/relationships/slideLayout" Target="../slideLayouts/slideLayout247.xml"/><Relationship Id="rId16" Type="http://schemas.openxmlformats.org/officeDocument/2006/relationships/slideLayout" Target="../slideLayouts/slideLayout261.xml"/><Relationship Id="rId20" Type="http://schemas.openxmlformats.org/officeDocument/2006/relationships/slideLayout" Target="../slideLayouts/slideLayout265.xml"/><Relationship Id="rId29" Type="http://schemas.openxmlformats.org/officeDocument/2006/relationships/slideLayout" Target="../slideLayouts/slideLayout274.xml"/><Relationship Id="rId1" Type="http://schemas.openxmlformats.org/officeDocument/2006/relationships/slideLayout" Target="../slideLayouts/slideLayout246.xml"/><Relationship Id="rId6" Type="http://schemas.openxmlformats.org/officeDocument/2006/relationships/slideLayout" Target="../slideLayouts/slideLayout251.xml"/><Relationship Id="rId11" Type="http://schemas.openxmlformats.org/officeDocument/2006/relationships/slideLayout" Target="../slideLayouts/slideLayout256.xml"/><Relationship Id="rId24" Type="http://schemas.openxmlformats.org/officeDocument/2006/relationships/slideLayout" Target="../slideLayouts/slideLayout269.xml"/><Relationship Id="rId32" Type="http://schemas.openxmlformats.org/officeDocument/2006/relationships/tags" Target="../tags/tag87.xml"/><Relationship Id="rId5" Type="http://schemas.openxmlformats.org/officeDocument/2006/relationships/slideLayout" Target="../slideLayouts/slideLayout250.xml"/><Relationship Id="rId15" Type="http://schemas.openxmlformats.org/officeDocument/2006/relationships/slideLayout" Target="../slideLayouts/slideLayout260.xml"/><Relationship Id="rId23" Type="http://schemas.openxmlformats.org/officeDocument/2006/relationships/slideLayout" Target="../slideLayouts/slideLayout268.xml"/><Relationship Id="rId28" Type="http://schemas.openxmlformats.org/officeDocument/2006/relationships/slideLayout" Target="../slideLayouts/slideLayout273.xml"/><Relationship Id="rId10" Type="http://schemas.openxmlformats.org/officeDocument/2006/relationships/slideLayout" Target="../slideLayouts/slideLayout255.xml"/><Relationship Id="rId19" Type="http://schemas.openxmlformats.org/officeDocument/2006/relationships/slideLayout" Target="../slideLayouts/slideLayout264.xml"/><Relationship Id="rId31" Type="http://schemas.openxmlformats.org/officeDocument/2006/relationships/vmlDrawing" Target="../drawings/vmlDrawing11.vml"/><Relationship Id="rId4" Type="http://schemas.openxmlformats.org/officeDocument/2006/relationships/slideLayout" Target="../slideLayouts/slideLayout249.xml"/><Relationship Id="rId9" Type="http://schemas.openxmlformats.org/officeDocument/2006/relationships/slideLayout" Target="../slideLayouts/slideLayout254.xml"/><Relationship Id="rId14" Type="http://schemas.openxmlformats.org/officeDocument/2006/relationships/slideLayout" Target="../slideLayouts/slideLayout259.xml"/><Relationship Id="rId22" Type="http://schemas.openxmlformats.org/officeDocument/2006/relationships/slideLayout" Target="../slideLayouts/slideLayout267.xml"/><Relationship Id="rId27" Type="http://schemas.openxmlformats.org/officeDocument/2006/relationships/slideLayout" Target="../slideLayouts/slideLayout272.xml"/><Relationship Id="rId30" Type="http://schemas.openxmlformats.org/officeDocument/2006/relationships/theme" Target="../theme/theme8.xml"/><Relationship Id="rId35" Type="http://schemas.openxmlformats.org/officeDocument/2006/relationships/image" Target="../media/image25.png"/><Relationship Id="rId8" Type="http://schemas.openxmlformats.org/officeDocument/2006/relationships/slideLayout" Target="../slideLayouts/slideLayout253.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287.xml"/><Relationship Id="rId18" Type="http://schemas.openxmlformats.org/officeDocument/2006/relationships/slideLayout" Target="../slideLayouts/slideLayout292.xml"/><Relationship Id="rId26" Type="http://schemas.openxmlformats.org/officeDocument/2006/relationships/slideLayout" Target="../slideLayouts/slideLayout300.xml"/><Relationship Id="rId3" Type="http://schemas.openxmlformats.org/officeDocument/2006/relationships/slideLayout" Target="../slideLayouts/slideLayout277.xml"/><Relationship Id="rId21" Type="http://schemas.openxmlformats.org/officeDocument/2006/relationships/slideLayout" Target="../slideLayouts/slideLayout295.xml"/><Relationship Id="rId34" Type="http://schemas.openxmlformats.org/officeDocument/2006/relationships/image" Target="../media/image14.png"/><Relationship Id="rId7" Type="http://schemas.openxmlformats.org/officeDocument/2006/relationships/slideLayout" Target="../slideLayouts/slideLayout281.xml"/><Relationship Id="rId12" Type="http://schemas.openxmlformats.org/officeDocument/2006/relationships/slideLayout" Target="../slideLayouts/slideLayout286.xml"/><Relationship Id="rId17" Type="http://schemas.openxmlformats.org/officeDocument/2006/relationships/slideLayout" Target="../slideLayouts/slideLayout291.xml"/><Relationship Id="rId25" Type="http://schemas.openxmlformats.org/officeDocument/2006/relationships/slideLayout" Target="../slideLayouts/slideLayout299.xml"/><Relationship Id="rId33" Type="http://schemas.openxmlformats.org/officeDocument/2006/relationships/image" Target="../media/image26.emf"/><Relationship Id="rId2" Type="http://schemas.openxmlformats.org/officeDocument/2006/relationships/slideLayout" Target="../slideLayouts/slideLayout276.xml"/><Relationship Id="rId16" Type="http://schemas.openxmlformats.org/officeDocument/2006/relationships/slideLayout" Target="../slideLayouts/slideLayout290.xml"/><Relationship Id="rId20" Type="http://schemas.openxmlformats.org/officeDocument/2006/relationships/slideLayout" Target="../slideLayouts/slideLayout294.xml"/><Relationship Id="rId29" Type="http://schemas.openxmlformats.org/officeDocument/2006/relationships/theme" Target="../theme/theme9.xml"/><Relationship Id="rId1" Type="http://schemas.openxmlformats.org/officeDocument/2006/relationships/slideLayout" Target="../slideLayouts/slideLayout275.xml"/><Relationship Id="rId6" Type="http://schemas.openxmlformats.org/officeDocument/2006/relationships/slideLayout" Target="../slideLayouts/slideLayout280.xml"/><Relationship Id="rId11" Type="http://schemas.openxmlformats.org/officeDocument/2006/relationships/slideLayout" Target="../slideLayouts/slideLayout285.xml"/><Relationship Id="rId24" Type="http://schemas.openxmlformats.org/officeDocument/2006/relationships/slideLayout" Target="../slideLayouts/slideLayout298.xml"/><Relationship Id="rId32" Type="http://schemas.openxmlformats.org/officeDocument/2006/relationships/oleObject" Target="../embeddings/oleObject12.bin"/><Relationship Id="rId5" Type="http://schemas.openxmlformats.org/officeDocument/2006/relationships/slideLayout" Target="../slideLayouts/slideLayout279.xml"/><Relationship Id="rId15" Type="http://schemas.openxmlformats.org/officeDocument/2006/relationships/slideLayout" Target="../slideLayouts/slideLayout289.xml"/><Relationship Id="rId23" Type="http://schemas.openxmlformats.org/officeDocument/2006/relationships/slideLayout" Target="../slideLayouts/slideLayout297.xml"/><Relationship Id="rId28" Type="http://schemas.openxmlformats.org/officeDocument/2006/relationships/slideLayout" Target="../slideLayouts/slideLayout302.xml"/><Relationship Id="rId10" Type="http://schemas.openxmlformats.org/officeDocument/2006/relationships/slideLayout" Target="../slideLayouts/slideLayout284.xml"/><Relationship Id="rId19" Type="http://schemas.openxmlformats.org/officeDocument/2006/relationships/slideLayout" Target="../slideLayouts/slideLayout293.xml"/><Relationship Id="rId31" Type="http://schemas.openxmlformats.org/officeDocument/2006/relationships/tags" Target="../tags/tag90.xml"/><Relationship Id="rId4" Type="http://schemas.openxmlformats.org/officeDocument/2006/relationships/slideLayout" Target="../slideLayouts/slideLayout278.xml"/><Relationship Id="rId9" Type="http://schemas.openxmlformats.org/officeDocument/2006/relationships/slideLayout" Target="../slideLayouts/slideLayout283.xml"/><Relationship Id="rId14" Type="http://schemas.openxmlformats.org/officeDocument/2006/relationships/slideLayout" Target="../slideLayouts/slideLayout288.xml"/><Relationship Id="rId22" Type="http://schemas.openxmlformats.org/officeDocument/2006/relationships/slideLayout" Target="../slideLayouts/slideLayout296.xml"/><Relationship Id="rId27" Type="http://schemas.openxmlformats.org/officeDocument/2006/relationships/slideLayout" Target="../slideLayouts/slideLayout301.xml"/><Relationship Id="rId30" Type="http://schemas.openxmlformats.org/officeDocument/2006/relationships/vmlDrawing" Target="../drawings/vmlDrawing12.vml"/><Relationship Id="rId8" Type="http://schemas.openxmlformats.org/officeDocument/2006/relationships/slideLayout" Target="../slideLayouts/slideLayout28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C868F68-376D-144F-A7F1-D82998A90A61}"/>
              </a:ext>
            </a:extLst>
          </p:cNvPr>
          <p:cNvGraphicFramePr>
            <a:graphicFrameLocks noChangeAspect="1"/>
          </p:cNvGraphicFramePr>
          <p:nvPr userDrawn="1">
            <p:custDataLst>
              <p:tags r:id="rId10"/>
            </p:custDataLst>
            <p:extLst>
              <p:ext uri="{D42A27DB-BD31-4B8C-83A1-F6EECF244321}">
                <p14:modId xmlns:p14="http://schemas.microsoft.com/office/powerpoint/2010/main" val="724417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5" name="think-cell Slide" r:id="rId11" imgW="7772400" imgH="10058400" progId="TCLayout.ActiveDocument.1">
                  <p:embed/>
                </p:oleObj>
              </mc:Choice>
              <mc:Fallback>
                <p:oleObj name="think-cell Slide" r:id="rId11" imgW="7772400" imgH="10058400" progId="TCLayout.ActiveDocument.1">
                  <p:embed/>
                  <p:pic>
                    <p:nvPicPr>
                      <p:cNvPr id="2" name="Object 1" hidden="1">
                        <a:extLst>
                          <a:ext uri="{FF2B5EF4-FFF2-40B4-BE49-F238E27FC236}">
                            <a16:creationId xmlns:a16="http://schemas.microsoft.com/office/drawing/2014/main" id="{5C868F68-376D-144F-A7F1-D82998A90A61}"/>
                          </a:ext>
                        </a:extLst>
                      </p:cNvPr>
                      <p:cNvPicPr/>
                      <p:nvPr/>
                    </p:nvPicPr>
                    <p:blipFill>
                      <a:blip r:embed="rId12"/>
                      <a:stretch>
                        <a:fillRect/>
                      </a:stretch>
                    </p:blipFill>
                    <p:spPr>
                      <a:xfrm>
                        <a:off x="1588" y="1588"/>
                        <a:ext cx="1587" cy="1587"/>
                      </a:xfrm>
                      <a:prstGeom prst="rect">
                        <a:avLst/>
                      </a:prstGeom>
                    </p:spPr>
                  </p:pic>
                </p:oleObj>
              </mc:Fallback>
            </mc:AlternateContent>
          </a:graphicData>
        </a:graphic>
      </p:graphicFrame>
    </p:spTree>
    <p:extLst>
      <p:ext uri="{BB962C8B-B14F-4D97-AF65-F5344CB8AC3E}">
        <p14:creationId xmlns:p14="http://schemas.microsoft.com/office/powerpoint/2010/main" val="57156124"/>
      </p:ext>
    </p:extLst>
  </p:cSld>
  <p:clrMap bg1="lt1" tx1="dk1" bg2="lt2" tx2="dk2" accent1="accent1" accent2="accent2" accent3="accent3" accent4="accent4" accent5="accent5" accent6="accent6" hlink="hlink" folHlink="folHlink"/>
  <p:sldLayoutIdLst>
    <p:sldLayoutId id="2147483661" r:id="rId1"/>
    <p:sldLayoutId id="2147483673" r:id="rId2"/>
    <p:sldLayoutId id="2147483674" r:id="rId3"/>
    <p:sldLayoutId id="2147484125" r:id="rId4"/>
    <p:sldLayoutId id="2147484127" r:id="rId5"/>
    <p:sldLayoutId id="2147484128" r:id="rId6"/>
    <p:sldLayoutId id="2147484129" r:id="rId7"/>
  </p:sldLayoutIdLst>
  <p:hf sldNum="0" hdr="0" ftr="0"/>
  <p:txStyles>
    <p:titleStyle>
      <a:lvl1pPr algn="l" defTabSz="914400" rtl="0" eaLnBrk="1" latinLnBrk="0" hangingPunct="1">
        <a:lnSpc>
          <a:spcPct val="90000"/>
        </a:lnSpc>
        <a:spcBef>
          <a:spcPct val="0"/>
        </a:spcBef>
        <a:buNone/>
        <a:defRPr sz="3200" b="0" i="0" kern="1200" baseline="0">
          <a:solidFill>
            <a:schemeClr val="tx1"/>
          </a:solidFill>
          <a:latin typeface="Arial MT Light" charset="0"/>
          <a:ea typeface="Arial MT Light" charset="0"/>
          <a:cs typeface="Arial MT Light" charset="0"/>
        </a:defRPr>
      </a:lvl1pPr>
    </p:titleStyle>
    <p:bodyStyle>
      <a:lvl1pPr marL="0" indent="0" algn="l" defTabSz="914400" rtl="0" eaLnBrk="1" latinLnBrk="0" hangingPunct="1">
        <a:lnSpc>
          <a:spcPct val="90000"/>
        </a:lnSpc>
        <a:spcBef>
          <a:spcPts val="1000"/>
        </a:spcBef>
        <a:buFontTx/>
        <a:buNone/>
        <a:defRPr sz="2000" b="0" i="0" kern="1200" baseline="0">
          <a:solidFill>
            <a:schemeClr val="bg2"/>
          </a:solidFill>
          <a:latin typeface="Arial MT Light" charset="0"/>
          <a:ea typeface="Arial MT Light" charset="0"/>
          <a:cs typeface="Arial MT Light" charset="0"/>
        </a:defRPr>
      </a:lvl1pPr>
      <a:lvl2pPr marL="685800" indent="-228600" algn="l" defTabSz="914400" rtl="0" eaLnBrk="1" latinLnBrk="0" hangingPunct="1">
        <a:lnSpc>
          <a:spcPct val="90000"/>
        </a:lnSpc>
        <a:spcBef>
          <a:spcPts val="500"/>
        </a:spcBef>
        <a:buFont typeface="Arial"/>
        <a:buChar char="•"/>
        <a:defRPr sz="2400" b="0" i="0" kern="1200">
          <a:solidFill>
            <a:schemeClr val="bg2"/>
          </a:solidFill>
          <a:latin typeface="Arial MT Light" charset="0"/>
          <a:ea typeface="Arial MT Light" charset="0"/>
          <a:cs typeface="Arial MT Light" charset="0"/>
        </a:defRPr>
      </a:lvl2pPr>
      <a:lvl3pPr marL="1143000" indent="-228600" algn="l" defTabSz="914400" rtl="0" eaLnBrk="1" latinLnBrk="0" hangingPunct="1">
        <a:lnSpc>
          <a:spcPct val="90000"/>
        </a:lnSpc>
        <a:spcBef>
          <a:spcPts val="500"/>
        </a:spcBef>
        <a:buFont typeface="Arial"/>
        <a:buChar char="•"/>
        <a:defRPr sz="2000" b="0" i="0" kern="1200">
          <a:solidFill>
            <a:schemeClr val="bg2"/>
          </a:solidFill>
          <a:latin typeface="Arial MT Light" charset="0"/>
          <a:ea typeface="Arial MT Light" charset="0"/>
          <a:cs typeface="Arial MT Light" charset="0"/>
        </a:defRPr>
      </a:lvl3pPr>
      <a:lvl4pPr marL="1600200" indent="-228600" algn="l" defTabSz="914400" rtl="0" eaLnBrk="1" latinLnBrk="0" hangingPunct="1">
        <a:lnSpc>
          <a:spcPct val="90000"/>
        </a:lnSpc>
        <a:spcBef>
          <a:spcPts val="500"/>
        </a:spcBef>
        <a:buFont typeface="Arial"/>
        <a:buChar char="•"/>
        <a:defRPr sz="1800" b="0" i="0" kern="1200">
          <a:solidFill>
            <a:schemeClr val="bg2"/>
          </a:solidFill>
          <a:latin typeface="Arial MT Light" charset="0"/>
          <a:ea typeface="Arial MT Light" charset="0"/>
          <a:cs typeface="Arial MT Light" charset="0"/>
        </a:defRPr>
      </a:lvl4pPr>
      <a:lvl5pPr marL="2057400" indent="-228600" algn="l" defTabSz="914400" rtl="0" eaLnBrk="1" latinLnBrk="0" hangingPunct="1">
        <a:lnSpc>
          <a:spcPct val="90000"/>
        </a:lnSpc>
        <a:spcBef>
          <a:spcPts val="500"/>
        </a:spcBef>
        <a:buFont typeface="Arial"/>
        <a:buChar char="•"/>
        <a:defRPr sz="1800" b="0" i="0" kern="1200">
          <a:solidFill>
            <a:schemeClr val="bg2"/>
          </a:solidFill>
          <a:latin typeface="Arial MT Light" charset="0"/>
          <a:ea typeface="Arial MT Light" charset="0"/>
          <a:cs typeface="Arial M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91576F5-DD81-6540-A629-2E86C8F28DAC}"/>
              </a:ext>
            </a:extLst>
          </p:cNvPr>
          <p:cNvGraphicFramePr>
            <a:graphicFrameLocks noChangeAspect="1"/>
          </p:cNvGraphicFramePr>
          <p:nvPr userDrawn="1">
            <p:custDataLst>
              <p:tags r:id="rId30"/>
            </p:custDataLst>
            <p:extLst>
              <p:ext uri="{D42A27DB-BD31-4B8C-83A1-F6EECF244321}">
                <p14:modId xmlns:p14="http://schemas.microsoft.com/office/powerpoint/2010/main" val="1412033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31" imgW="7772400" imgH="10058400" progId="TCLayout.ActiveDocument.1">
                  <p:embed/>
                </p:oleObj>
              </mc:Choice>
              <mc:Fallback>
                <p:oleObj name="think-cell Slide" r:id="rId31" imgW="7772400" imgH="10058400" progId="TCLayout.ActiveDocument.1">
                  <p:embed/>
                  <p:pic>
                    <p:nvPicPr>
                      <p:cNvPr id="2" name="Object 1" hidden="1">
                        <a:extLst>
                          <a:ext uri="{FF2B5EF4-FFF2-40B4-BE49-F238E27FC236}">
                            <a16:creationId xmlns:a16="http://schemas.microsoft.com/office/drawing/2014/main" id="{D91576F5-DD81-6540-A629-2E86C8F28DAC}"/>
                          </a:ext>
                        </a:extLst>
                      </p:cNvPr>
                      <p:cNvPicPr/>
                      <p:nvPr/>
                    </p:nvPicPr>
                    <p:blipFill>
                      <a:blip r:embed="rId32"/>
                      <a:stretch>
                        <a:fillRect/>
                      </a:stretch>
                    </p:blipFill>
                    <p:spPr>
                      <a:xfrm>
                        <a:off x="1588" y="1588"/>
                        <a:ext cx="1587" cy="1587"/>
                      </a:xfrm>
                      <a:prstGeom prst="rect">
                        <a:avLst/>
                      </a:prstGeom>
                    </p:spPr>
                  </p:pic>
                </p:oleObj>
              </mc:Fallback>
            </mc:AlternateContent>
          </a:graphicData>
        </a:graphic>
      </p:graphicFrame>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grpSp>
        <p:nvGrpSpPr>
          <p:cNvPr id="3" name="Group 2"/>
          <p:cNvGrpSpPr/>
          <p:nvPr userDrawn="1"/>
        </p:nvGrpSpPr>
        <p:grpSpPr>
          <a:xfrm>
            <a:off x="182404" y="6464300"/>
            <a:ext cx="3518293" cy="221722"/>
            <a:chOff x="182404" y="6464300"/>
            <a:chExt cx="3518293" cy="221722"/>
          </a:xfrm>
        </p:grpSpPr>
        <p:cxnSp>
          <p:nvCxnSpPr>
            <p:cNvPr id="11" name="Straight Connector 10"/>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0" name="Rounded Rectangle 9"/>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 name="Rounded Rectangle 11"/>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ounded Rectangle 13"/>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Tree>
    <p:extLst>
      <p:ext uri="{BB962C8B-B14F-4D97-AF65-F5344CB8AC3E}">
        <p14:creationId xmlns:p14="http://schemas.microsoft.com/office/powerpoint/2010/main" val="4178536365"/>
      </p:ext>
    </p:extLst>
  </p:cSld>
  <p:clrMap bg1="lt1" tx1="dk1" bg2="lt2" tx2="dk2" accent1="accent1" accent2="accent2" accent3="accent3" accent4="accent4" accent5="accent5" accent6="accent6" hlink="hlink" folHlink="folHlink"/>
  <p:sldLayoutIdLst>
    <p:sldLayoutId id="2147483939" r:id="rId1"/>
    <p:sldLayoutId id="2147483940" r:id="rId2"/>
    <p:sldLayoutId id="2147483941" r:id="rId3"/>
    <p:sldLayoutId id="2147483942" r:id="rId4"/>
    <p:sldLayoutId id="2147483943" r:id="rId5"/>
    <p:sldLayoutId id="2147483944" r:id="rId6"/>
    <p:sldLayoutId id="2147483945" r:id="rId7"/>
    <p:sldLayoutId id="2147483946" r:id="rId8"/>
    <p:sldLayoutId id="2147483947" r:id="rId9"/>
    <p:sldLayoutId id="2147483948" r:id="rId10"/>
    <p:sldLayoutId id="2147483949" r:id="rId11"/>
    <p:sldLayoutId id="2147483950" r:id="rId12"/>
    <p:sldLayoutId id="2147483951" r:id="rId13"/>
    <p:sldLayoutId id="2147483952" r:id="rId14"/>
    <p:sldLayoutId id="2147483953" r:id="rId15"/>
    <p:sldLayoutId id="2147483954" r:id="rId16"/>
    <p:sldLayoutId id="2147483955" r:id="rId17"/>
    <p:sldLayoutId id="2147483956" r:id="rId18"/>
    <p:sldLayoutId id="2147483957" r:id="rId19"/>
    <p:sldLayoutId id="2147483958" r:id="rId20"/>
    <p:sldLayoutId id="2147483959" r:id="rId21"/>
    <p:sldLayoutId id="2147483960" r:id="rId22"/>
    <p:sldLayoutId id="2147483961" r:id="rId23"/>
    <p:sldLayoutId id="2147483962" r:id="rId24"/>
    <p:sldLayoutId id="2147483963" r:id="rId25"/>
    <p:sldLayoutId id="2147483964" r:id="rId26"/>
    <p:sldLayoutId id="2147483965" r:id="rId27"/>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DD561D2-A109-7B43-92B4-474D78A1BDCB}"/>
              </a:ext>
            </a:extLst>
          </p:cNvPr>
          <p:cNvGraphicFramePr>
            <a:graphicFrameLocks noChangeAspect="1"/>
          </p:cNvGraphicFramePr>
          <p:nvPr userDrawn="1">
            <p:custDataLst>
              <p:tags r:id="rId31"/>
            </p:custDataLst>
            <p:extLst>
              <p:ext uri="{D42A27DB-BD31-4B8C-83A1-F6EECF244321}">
                <p14:modId xmlns:p14="http://schemas.microsoft.com/office/powerpoint/2010/main" val="11191313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32" imgW="7772400" imgH="10058400" progId="TCLayout.ActiveDocument.1">
                  <p:embed/>
                </p:oleObj>
              </mc:Choice>
              <mc:Fallback>
                <p:oleObj name="think-cell Slide" r:id="rId32" imgW="7772400" imgH="10058400" progId="TCLayout.ActiveDocument.1">
                  <p:embed/>
                  <p:pic>
                    <p:nvPicPr>
                      <p:cNvPr id="2" name="Object 1" hidden="1">
                        <a:extLst>
                          <a:ext uri="{FF2B5EF4-FFF2-40B4-BE49-F238E27FC236}">
                            <a16:creationId xmlns:a16="http://schemas.microsoft.com/office/drawing/2014/main" id="{5DD561D2-A109-7B43-92B4-474D78A1BDCB}"/>
                          </a:ext>
                        </a:extLst>
                      </p:cNvPr>
                      <p:cNvPicPr/>
                      <p:nvPr/>
                    </p:nvPicPr>
                    <p:blipFill>
                      <a:blip r:embed="rId33"/>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2494615204"/>
      </p:ext>
    </p:extLst>
  </p:cSld>
  <p:clrMap bg1="lt1" tx1="dk1" bg2="lt2" tx2="dk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 id="2147483975" r:id="rId9"/>
    <p:sldLayoutId id="2147483976" r:id="rId10"/>
    <p:sldLayoutId id="2147483977" r:id="rId11"/>
    <p:sldLayoutId id="2147483978" r:id="rId12"/>
    <p:sldLayoutId id="2147483979" r:id="rId13"/>
    <p:sldLayoutId id="2147483980" r:id="rId14"/>
    <p:sldLayoutId id="2147483981" r:id="rId15"/>
    <p:sldLayoutId id="2147483982" r:id="rId16"/>
    <p:sldLayoutId id="2147483983" r:id="rId17"/>
    <p:sldLayoutId id="2147483984" r:id="rId18"/>
    <p:sldLayoutId id="2147483985" r:id="rId19"/>
    <p:sldLayoutId id="2147483986" r:id="rId20"/>
    <p:sldLayoutId id="2147483987" r:id="rId21"/>
    <p:sldLayoutId id="2147483988" r:id="rId22"/>
    <p:sldLayoutId id="2147483989" r:id="rId23"/>
    <p:sldLayoutId id="2147483990" r:id="rId24"/>
    <p:sldLayoutId id="2147483991" r:id="rId25"/>
    <p:sldLayoutId id="2147483992" r:id="rId26"/>
    <p:sldLayoutId id="2147483993" r:id="rId27"/>
    <p:sldLayoutId id="2147483995" r:id="rId2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06065CC-A9A7-3246-ADB0-BF21FCF02AE1}"/>
              </a:ext>
            </a:extLst>
          </p:cNvPr>
          <p:cNvGraphicFramePr>
            <a:graphicFrameLocks noChangeAspect="1"/>
          </p:cNvGraphicFramePr>
          <p:nvPr userDrawn="1">
            <p:custDataLst>
              <p:tags r:id="rId31"/>
            </p:custDataLst>
            <p:extLst>
              <p:ext uri="{D42A27DB-BD31-4B8C-83A1-F6EECF244321}">
                <p14:modId xmlns:p14="http://schemas.microsoft.com/office/powerpoint/2010/main" val="10413991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32" imgW="7772400" imgH="10058400" progId="TCLayout.ActiveDocument.1">
                  <p:embed/>
                </p:oleObj>
              </mc:Choice>
              <mc:Fallback>
                <p:oleObj name="think-cell Slide" r:id="rId32" imgW="7772400" imgH="10058400" progId="TCLayout.ActiveDocument.1">
                  <p:embed/>
                  <p:pic>
                    <p:nvPicPr>
                      <p:cNvPr id="2" name="Object 1" hidden="1">
                        <a:extLst>
                          <a:ext uri="{FF2B5EF4-FFF2-40B4-BE49-F238E27FC236}">
                            <a16:creationId xmlns:a16="http://schemas.microsoft.com/office/drawing/2014/main" id="{806065CC-A9A7-3246-ADB0-BF21FCF02AE1}"/>
                          </a:ext>
                        </a:extLst>
                      </p:cNvPr>
                      <p:cNvPicPr/>
                      <p:nvPr/>
                    </p:nvPicPr>
                    <p:blipFill>
                      <a:blip r:embed="rId33"/>
                      <a:stretch>
                        <a:fillRect/>
                      </a:stretch>
                    </p:blipFill>
                    <p:spPr>
                      <a:xfrm>
                        <a:off x="1588" y="1588"/>
                        <a:ext cx="1587" cy="1587"/>
                      </a:xfrm>
                      <a:prstGeom prst="rect">
                        <a:avLst/>
                      </a:prstGeom>
                    </p:spPr>
                  </p:pic>
                </p:oleObj>
              </mc:Fallback>
            </mc:AlternateContent>
          </a:graphicData>
        </a:graphic>
      </p:graphicFrame>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grpSp>
        <p:nvGrpSpPr>
          <p:cNvPr id="3" name="Group 2"/>
          <p:cNvGrpSpPr/>
          <p:nvPr userDrawn="1"/>
        </p:nvGrpSpPr>
        <p:grpSpPr>
          <a:xfrm>
            <a:off x="182404" y="6464300"/>
            <a:ext cx="3518293" cy="221722"/>
            <a:chOff x="182404" y="6464300"/>
            <a:chExt cx="3518293" cy="221722"/>
          </a:xfrm>
        </p:grpSpPr>
        <p:cxnSp>
          <p:nvCxnSpPr>
            <p:cNvPr id="11" name="Straight Connector 10"/>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0" name="Rounded Rectangle 9"/>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 name="Rounded Rectangle 11"/>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ounded Rectangle 13"/>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5" name="Rectangle 14"/>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3738832112"/>
      </p:ext>
    </p:extLst>
  </p:cSld>
  <p:clrMap bg1="lt1" tx1="dk1" bg2="lt2" tx2="dk2" accent1="accent1" accent2="accent2" accent3="accent3" accent4="accent4" accent5="accent5" accent6="accent6" hlink="hlink" folHlink="folHlink"/>
  <p:sldLayoutIdLst>
    <p:sldLayoutId id="2147483998" r:id="rId1"/>
    <p:sldLayoutId id="2147483999" r:id="rId2"/>
    <p:sldLayoutId id="2147484000" r:id="rId3"/>
    <p:sldLayoutId id="2147484001" r:id="rId4"/>
    <p:sldLayoutId id="2147484002" r:id="rId5"/>
    <p:sldLayoutId id="2147484003" r:id="rId6"/>
    <p:sldLayoutId id="2147484004" r:id="rId7"/>
    <p:sldLayoutId id="2147484005" r:id="rId8"/>
    <p:sldLayoutId id="2147484006" r:id="rId9"/>
    <p:sldLayoutId id="2147484007" r:id="rId10"/>
    <p:sldLayoutId id="2147484008" r:id="rId11"/>
    <p:sldLayoutId id="2147484009" r:id="rId12"/>
    <p:sldLayoutId id="2147484010" r:id="rId13"/>
    <p:sldLayoutId id="2147484011" r:id="rId14"/>
    <p:sldLayoutId id="2147484012" r:id="rId15"/>
    <p:sldLayoutId id="2147484013" r:id="rId16"/>
    <p:sldLayoutId id="2147484014" r:id="rId17"/>
    <p:sldLayoutId id="2147484015" r:id="rId18"/>
    <p:sldLayoutId id="2147484016" r:id="rId19"/>
    <p:sldLayoutId id="2147484017" r:id="rId20"/>
    <p:sldLayoutId id="2147484018" r:id="rId21"/>
    <p:sldLayoutId id="2147484019" r:id="rId22"/>
    <p:sldLayoutId id="2147484020" r:id="rId23"/>
    <p:sldLayoutId id="2147484021" r:id="rId24"/>
    <p:sldLayoutId id="2147484022" r:id="rId25"/>
    <p:sldLayoutId id="2147484023" r:id="rId26"/>
    <p:sldLayoutId id="2147484024" r:id="rId27"/>
    <p:sldLayoutId id="2147484025" r:id="rId28"/>
  </p:sldLayoutIdLst>
  <p:hf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accent6">
                <a:lumMod val="0"/>
                <a:lumOff val="100000"/>
              </a:schemeClr>
            </a:gs>
            <a:gs pos="54000">
              <a:schemeClr val="accent6">
                <a:lumMod val="0"/>
                <a:lumOff val="100000"/>
                <a:alpha val="16000"/>
              </a:schemeClr>
            </a:gs>
            <a:gs pos="100000">
              <a:schemeClr val="accent6">
                <a:lumMod val="100000"/>
              </a:schemeClr>
            </a:gs>
          </a:gsLst>
          <a:path path="circle">
            <a:fillToRect l="50000" t="-80000" r="50000" b="180000"/>
          </a:path>
          <a:tileRect/>
        </a:gra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B7C4261-E0FC-495B-883E-46E98F81BA02}"/>
              </a:ext>
            </a:extLst>
          </p:cNvPr>
          <p:cNvGraphicFramePr>
            <a:graphicFrameLocks noChangeAspect="1"/>
          </p:cNvGraphicFramePr>
          <p:nvPr userDrawn="1">
            <p:custDataLst>
              <p:tags r:id="rId7"/>
            </p:custDataLst>
            <p:extLst>
              <p:ext uri="{D42A27DB-BD31-4B8C-83A1-F6EECF244321}">
                <p14:modId xmlns:p14="http://schemas.microsoft.com/office/powerpoint/2010/main" val="1026141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8" imgW="415" imgH="416" progId="TCLayout.ActiveDocument.1">
                  <p:embed/>
                </p:oleObj>
              </mc:Choice>
              <mc:Fallback>
                <p:oleObj name="think-cell Slide" r:id="rId8" imgW="415" imgH="416" progId="TCLayout.ActiveDocument.1">
                  <p:embed/>
                  <p:pic>
                    <p:nvPicPr>
                      <p:cNvPr id="2" name="Object 1" hidden="1">
                        <a:extLst>
                          <a:ext uri="{FF2B5EF4-FFF2-40B4-BE49-F238E27FC236}">
                            <a16:creationId xmlns:a16="http://schemas.microsoft.com/office/drawing/2014/main" id="{CB7C4261-E0FC-495B-883E-46E98F81BA02}"/>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10376846"/>
      </p:ext>
    </p:extLst>
  </p:cSld>
  <p:clrMap bg1="lt1" tx1="dk1" bg2="lt2" tx2="dk2" accent1="accent1" accent2="accent2" accent3="accent3" accent4="accent4" accent5="accent5" accent6="accent6" hlink="hlink" folHlink="folHlink"/>
  <p:sldLayoutIdLst>
    <p:sldLayoutId id="2147484131" r:id="rId1"/>
    <p:sldLayoutId id="2147484132" r:id="rId2"/>
    <p:sldLayoutId id="2147484133" r:id="rId3"/>
    <p:sldLayoutId id="2147484134" r:id="rId4"/>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C17DDD5-D754-F749-A71D-21298394ADB9}"/>
              </a:ext>
            </a:extLst>
          </p:cNvPr>
          <p:cNvGraphicFramePr>
            <a:graphicFrameLocks noChangeAspect="1"/>
          </p:cNvGraphicFramePr>
          <p:nvPr userDrawn="1">
            <p:custDataLst>
              <p:tags r:id="rId9"/>
            </p:custDataLst>
            <p:extLst>
              <p:ext uri="{D42A27DB-BD31-4B8C-83A1-F6EECF244321}">
                <p14:modId xmlns:p14="http://schemas.microsoft.com/office/powerpoint/2010/main" val="20558800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1" name="think-cell Slide" r:id="rId10" imgW="7772400" imgH="10058400" progId="TCLayout.ActiveDocument.1">
                  <p:embed/>
                </p:oleObj>
              </mc:Choice>
              <mc:Fallback>
                <p:oleObj name="think-cell Slide" r:id="rId10" imgW="7772400" imgH="10058400" progId="TCLayout.ActiveDocument.1">
                  <p:embed/>
                  <p:pic>
                    <p:nvPicPr>
                      <p:cNvPr id="2" name="Object 1" hidden="1">
                        <a:extLst>
                          <a:ext uri="{FF2B5EF4-FFF2-40B4-BE49-F238E27FC236}">
                            <a16:creationId xmlns:a16="http://schemas.microsoft.com/office/drawing/2014/main" id="{EC17DDD5-D754-F749-A71D-21298394ADB9}"/>
                          </a:ext>
                        </a:extLst>
                      </p:cNvPr>
                      <p:cNvPicPr/>
                      <p:nvPr/>
                    </p:nvPicPr>
                    <p:blipFill>
                      <a:blip r:embed="rId11"/>
                      <a:stretch>
                        <a:fillRect/>
                      </a:stretch>
                    </p:blipFill>
                    <p:spPr>
                      <a:xfrm>
                        <a:off x="1588" y="1588"/>
                        <a:ext cx="1587" cy="1587"/>
                      </a:xfrm>
                      <a:prstGeom prst="rect">
                        <a:avLst/>
                      </a:prstGeom>
                    </p:spPr>
                  </p:pic>
                </p:oleObj>
              </mc:Fallback>
            </mc:AlternateContent>
          </a:graphicData>
        </a:graphic>
      </p:graphicFrame>
      <p:pic>
        <p:nvPicPr>
          <p:cNvPr id="3" name="Picture 2"/>
          <p:cNvPicPr>
            <a:picLocks noChangeAspect="1"/>
          </p:cNvPicPr>
          <p:nvPr userDrawn="1"/>
        </p:nvPicPr>
        <p:blipFill>
          <a:blip r:embed="rId12" cstate="email">
            <a:extLst>
              <a:ext uri="{28A0092B-C50C-407E-A947-70E740481C1C}">
                <a14:useLocalDpi xmlns:a14="http://schemas.microsoft.com/office/drawing/2010/main"/>
              </a:ext>
            </a:extLst>
          </a:blip>
          <a:stretch>
            <a:fillRect/>
          </a:stretch>
        </p:blipFill>
        <p:spPr>
          <a:xfrm>
            <a:off x="11002357" y="5455006"/>
            <a:ext cx="965143" cy="1171710"/>
          </a:xfrm>
          <a:prstGeom prst="rect">
            <a:avLst/>
          </a:prstGeom>
          <a:effectLst/>
        </p:spPr>
      </p:pic>
      <p:sp>
        <p:nvSpPr>
          <p:cNvPr id="4"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SLIDE</a:t>
            </a:r>
            <a:r>
              <a:rPr lang="en-US" sz="2400" baseline="0">
                <a:solidFill>
                  <a:schemeClr val="tx1"/>
                </a:solidFill>
              </a:rPr>
              <a:t> DIVIDERS</a:t>
            </a:r>
            <a:endParaRPr lang="en-US" sz="2400">
              <a:solidFill>
                <a:schemeClr val="tx1"/>
              </a:solidFill>
            </a:endParaRPr>
          </a:p>
        </p:txBody>
      </p:sp>
      <p:sp>
        <p:nvSpPr>
          <p:cNvPr id="5" name="Rectangle 4"/>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2082468632"/>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4026" r:id="rId6"/>
  </p:sldLayoutIdLst>
  <p:hf sldNum="0" hdr="0" ftr="0"/>
  <p:txStyles>
    <p:titleStyle>
      <a:lvl1pPr algn="l" defTabSz="914400" rtl="0" eaLnBrk="1" latinLnBrk="0" hangingPunct="1">
        <a:lnSpc>
          <a:spcPct val="90000"/>
        </a:lnSpc>
        <a:spcBef>
          <a:spcPct val="0"/>
        </a:spcBef>
        <a:buNone/>
        <a:defRPr sz="3200" b="0" i="0" kern="1200" baseline="0">
          <a:solidFill>
            <a:schemeClr val="tx1"/>
          </a:solidFill>
          <a:latin typeface="Arial MT Light" charset="0"/>
          <a:ea typeface="Arial MT Light" charset="0"/>
          <a:cs typeface="Arial MT Light" charset="0"/>
        </a:defRPr>
      </a:lvl1pPr>
    </p:titleStyle>
    <p:bodyStyle>
      <a:lvl1pPr marL="0" indent="0" algn="l" defTabSz="914400" rtl="0" eaLnBrk="1" latinLnBrk="0" hangingPunct="1">
        <a:lnSpc>
          <a:spcPct val="90000"/>
        </a:lnSpc>
        <a:spcBef>
          <a:spcPts val="1000"/>
        </a:spcBef>
        <a:buFontTx/>
        <a:buNone/>
        <a:defRPr sz="2000" b="0" i="0" kern="1200" baseline="0">
          <a:solidFill>
            <a:schemeClr val="bg2"/>
          </a:solidFill>
          <a:latin typeface="Arial MT Light" charset="0"/>
          <a:ea typeface="Arial MT Light" charset="0"/>
          <a:cs typeface="Arial MT Light" charset="0"/>
        </a:defRPr>
      </a:lvl1pPr>
      <a:lvl2pPr marL="685800" indent="-228600" algn="l" defTabSz="914400" rtl="0" eaLnBrk="1" latinLnBrk="0" hangingPunct="1">
        <a:lnSpc>
          <a:spcPct val="90000"/>
        </a:lnSpc>
        <a:spcBef>
          <a:spcPts val="500"/>
        </a:spcBef>
        <a:buFont typeface="Arial"/>
        <a:buChar char="•"/>
        <a:defRPr sz="2400" b="0" i="0" kern="1200">
          <a:solidFill>
            <a:schemeClr val="bg2"/>
          </a:solidFill>
          <a:latin typeface="Arial MT Light" charset="0"/>
          <a:ea typeface="Arial MT Light" charset="0"/>
          <a:cs typeface="Arial MT Light" charset="0"/>
        </a:defRPr>
      </a:lvl2pPr>
      <a:lvl3pPr marL="1143000" indent="-228600" algn="l" defTabSz="914400" rtl="0" eaLnBrk="1" latinLnBrk="0" hangingPunct="1">
        <a:lnSpc>
          <a:spcPct val="90000"/>
        </a:lnSpc>
        <a:spcBef>
          <a:spcPts val="500"/>
        </a:spcBef>
        <a:buFont typeface="Arial"/>
        <a:buChar char="•"/>
        <a:defRPr sz="2000" b="0" i="0" kern="1200">
          <a:solidFill>
            <a:schemeClr val="bg2"/>
          </a:solidFill>
          <a:latin typeface="Arial MT Light" charset="0"/>
          <a:ea typeface="Arial MT Light" charset="0"/>
          <a:cs typeface="Arial MT Light" charset="0"/>
        </a:defRPr>
      </a:lvl3pPr>
      <a:lvl4pPr marL="1600200" indent="-228600" algn="l" defTabSz="914400" rtl="0" eaLnBrk="1" latinLnBrk="0" hangingPunct="1">
        <a:lnSpc>
          <a:spcPct val="90000"/>
        </a:lnSpc>
        <a:spcBef>
          <a:spcPts val="500"/>
        </a:spcBef>
        <a:buFont typeface="Arial"/>
        <a:buChar char="•"/>
        <a:defRPr sz="1800" b="0" i="0" kern="1200">
          <a:solidFill>
            <a:schemeClr val="bg2"/>
          </a:solidFill>
          <a:latin typeface="Arial MT Light" charset="0"/>
          <a:ea typeface="Arial MT Light" charset="0"/>
          <a:cs typeface="Arial MT Light" charset="0"/>
        </a:defRPr>
      </a:lvl4pPr>
      <a:lvl5pPr marL="2057400" indent="-228600" algn="l" defTabSz="914400" rtl="0" eaLnBrk="1" latinLnBrk="0" hangingPunct="1">
        <a:lnSpc>
          <a:spcPct val="90000"/>
        </a:lnSpc>
        <a:spcBef>
          <a:spcPts val="500"/>
        </a:spcBef>
        <a:buFont typeface="Arial"/>
        <a:buChar char="•"/>
        <a:defRPr sz="1800" b="0" i="0" kern="1200">
          <a:solidFill>
            <a:schemeClr val="bg2"/>
          </a:solidFill>
          <a:latin typeface="Arial MT Light" charset="0"/>
          <a:ea typeface="Arial MT Light" charset="0"/>
          <a:cs typeface="Arial MT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7C26118-4D97-D042-8A80-A0B847C3F2F6}"/>
              </a:ext>
            </a:extLst>
          </p:cNvPr>
          <p:cNvGraphicFramePr>
            <a:graphicFrameLocks noChangeAspect="1"/>
          </p:cNvGraphicFramePr>
          <p:nvPr userDrawn="1">
            <p:custDataLst>
              <p:tags r:id="rId127"/>
            </p:custDataLst>
            <p:extLst>
              <p:ext uri="{D42A27DB-BD31-4B8C-83A1-F6EECF244321}">
                <p14:modId xmlns:p14="http://schemas.microsoft.com/office/powerpoint/2010/main" val="3308110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128" imgW="7772400" imgH="10058400" progId="TCLayout.ActiveDocument.1">
                  <p:embed/>
                </p:oleObj>
              </mc:Choice>
              <mc:Fallback>
                <p:oleObj name="think-cell Slide" r:id="rId128" imgW="7772400" imgH="10058400" progId="TCLayout.ActiveDocument.1">
                  <p:embed/>
                  <p:pic>
                    <p:nvPicPr>
                      <p:cNvPr id="2" name="Object 1" hidden="1">
                        <a:extLst>
                          <a:ext uri="{FF2B5EF4-FFF2-40B4-BE49-F238E27FC236}">
                            <a16:creationId xmlns:a16="http://schemas.microsoft.com/office/drawing/2014/main" id="{57C26118-4D97-D042-8A80-A0B847C3F2F6}"/>
                          </a:ext>
                        </a:extLst>
                      </p:cNvPr>
                      <p:cNvPicPr/>
                      <p:nvPr/>
                    </p:nvPicPr>
                    <p:blipFill>
                      <a:blip r:embed="rId129"/>
                      <a:stretch>
                        <a:fillRect/>
                      </a:stretch>
                    </p:blipFill>
                    <p:spPr>
                      <a:xfrm>
                        <a:off x="1588" y="1588"/>
                        <a:ext cx="1587" cy="1587"/>
                      </a:xfrm>
                      <a:prstGeom prst="rect">
                        <a:avLst/>
                      </a:prstGeom>
                    </p:spPr>
                  </p:pic>
                </p:oleObj>
              </mc:Fallback>
            </mc:AlternateContent>
          </a:graphicData>
        </a:graphic>
      </p:graphicFrame>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130"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grpSp>
        <p:nvGrpSpPr>
          <p:cNvPr id="3" name="Group 2"/>
          <p:cNvGrpSpPr/>
          <p:nvPr userDrawn="1"/>
        </p:nvGrpSpPr>
        <p:grpSpPr>
          <a:xfrm>
            <a:off x="182404" y="6464300"/>
            <a:ext cx="3518293" cy="221722"/>
            <a:chOff x="182404" y="6464300"/>
            <a:chExt cx="3518293" cy="221722"/>
          </a:xfrm>
        </p:grpSpPr>
        <p:cxnSp>
          <p:nvCxnSpPr>
            <p:cNvPr id="11" name="Straight Connector 10"/>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0" name="Rounded Rectangle 9"/>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 name="Rounded Rectangle 11"/>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ounded Rectangle 13"/>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5" name="Rectangle 14"/>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dirty="0">
                <a:solidFill>
                  <a:srgbClr val="FF0000"/>
                </a:solidFill>
              </a:rPr>
              <a:t>CONFIDENTIAL – NOT FOR DISTRIBUTION</a:t>
            </a:r>
          </a:p>
        </p:txBody>
      </p:sp>
    </p:spTree>
    <p:extLst>
      <p:ext uri="{BB962C8B-B14F-4D97-AF65-F5344CB8AC3E}">
        <p14:creationId xmlns:p14="http://schemas.microsoft.com/office/powerpoint/2010/main" val="25366238"/>
      </p:ext>
    </p:extLst>
  </p:cSld>
  <p:clrMap bg1="lt1" tx1="dk1" bg2="lt2" tx2="dk2" accent1="accent1" accent2="accent2" accent3="accent3" accent4="accent4" accent5="accent5" accent6="accent6" hlink="hlink" folHlink="folHlink"/>
  <p:sldLayoutIdLst>
    <p:sldLayoutId id="2147484109" r:id="rId1"/>
    <p:sldLayoutId id="2147484110" r:id="rId2"/>
    <p:sldLayoutId id="2147484111" r:id="rId3"/>
    <p:sldLayoutId id="2147484112" r:id="rId4"/>
    <p:sldLayoutId id="2147484113" r:id="rId5"/>
    <p:sldLayoutId id="2147484106" r:id="rId6"/>
    <p:sldLayoutId id="2147484103" r:id="rId7"/>
    <p:sldLayoutId id="2147484088" r:id="rId8"/>
    <p:sldLayoutId id="2147484089" r:id="rId9"/>
    <p:sldLayoutId id="2147484090" r:id="rId10"/>
    <p:sldLayoutId id="2147484091" r:id="rId11"/>
    <p:sldLayoutId id="2147484092" r:id="rId12"/>
    <p:sldLayoutId id="2147484073" r:id="rId13"/>
    <p:sldLayoutId id="2147484074" r:id="rId14"/>
    <p:sldLayoutId id="2147484075" r:id="rId15"/>
    <p:sldLayoutId id="2147484076" r:id="rId16"/>
    <p:sldLayoutId id="2147484077" r:id="rId17"/>
    <p:sldLayoutId id="2147484058" r:id="rId18"/>
    <p:sldLayoutId id="2147484059" r:id="rId19"/>
    <p:sldLayoutId id="2147484060" r:id="rId20"/>
    <p:sldLayoutId id="2147484061" r:id="rId21"/>
    <p:sldLayoutId id="2147484062" r:id="rId22"/>
    <p:sldLayoutId id="2147484043" r:id="rId23"/>
    <p:sldLayoutId id="2147484044" r:id="rId24"/>
    <p:sldLayoutId id="2147484045" r:id="rId25"/>
    <p:sldLayoutId id="2147484046" r:id="rId26"/>
    <p:sldLayoutId id="2147484047" r:id="rId27"/>
    <p:sldLayoutId id="2147484040" r:id="rId28"/>
    <p:sldLayoutId id="2147484037" r:id="rId29"/>
    <p:sldLayoutId id="2147484034" r:id="rId30"/>
    <p:sldLayoutId id="2147484031" r:id="rId31"/>
    <p:sldLayoutId id="2147484028" r:id="rId32"/>
    <p:sldLayoutId id="2147483850" r:id="rId33"/>
    <p:sldLayoutId id="2147483851" r:id="rId34"/>
    <p:sldLayoutId id="2147483852" r:id="rId35"/>
    <p:sldLayoutId id="2147483853" r:id="rId36"/>
    <p:sldLayoutId id="2147483854" r:id="rId37"/>
    <p:sldLayoutId id="2147483855" r:id="rId38"/>
    <p:sldLayoutId id="2147483856" r:id="rId39"/>
    <p:sldLayoutId id="2147483857" r:id="rId40"/>
    <p:sldLayoutId id="2147483858" r:id="rId41"/>
    <p:sldLayoutId id="2147483859" r:id="rId42"/>
    <p:sldLayoutId id="2147483860" r:id="rId43"/>
    <p:sldLayoutId id="2147483861" r:id="rId44"/>
    <p:sldLayoutId id="2147483862" r:id="rId45"/>
    <p:sldLayoutId id="2147483863" r:id="rId46"/>
    <p:sldLayoutId id="2147484114" r:id="rId47"/>
    <p:sldLayoutId id="2147484115" r:id="rId48"/>
    <p:sldLayoutId id="2147484116" r:id="rId49"/>
    <p:sldLayoutId id="2147484117" r:id="rId50"/>
    <p:sldLayoutId id="2147484118" r:id="rId51"/>
    <p:sldLayoutId id="2147484119" r:id="rId52"/>
    <p:sldLayoutId id="2147484120" r:id="rId53"/>
    <p:sldLayoutId id="2147484121" r:id="rId54"/>
    <p:sldLayoutId id="2147484122" r:id="rId55"/>
    <p:sldLayoutId id="2147484123" r:id="rId56"/>
    <p:sldLayoutId id="2147484107" r:id="rId57"/>
    <p:sldLayoutId id="2147484108" r:id="rId58"/>
    <p:sldLayoutId id="2147484104" r:id="rId59"/>
    <p:sldLayoutId id="2147484105" r:id="rId60"/>
    <p:sldLayoutId id="2147484093" r:id="rId61"/>
    <p:sldLayoutId id="2147484094" r:id="rId62"/>
    <p:sldLayoutId id="2147484095" r:id="rId63"/>
    <p:sldLayoutId id="2147484096" r:id="rId64"/>
    <p:sldLayoutId id="2147484097" r:id="rId65"/>
    <p:sldLayoutId id="2147484098" r:id="rId66"/>
    <p:sldLayoutId id="2147484099" r:id="rId67"/>
    <p:sldLayoutId id="2147484100" r:id="rId68"/>
    <p:sldLayoutId id="2147484101" r:id="rId69"/>
    <p:sldLayoutId id="2147484102" r:id="rId70"/>
    <p:sldLayoutId id="2147484078" r:id="rId71"/>
    <p:sldLayoutId id="2147484079" r:id="rId72"/>
    <p:sldLayoutId id="2147484080" r:id="rId73"/>
    <p:sldLayoutId id="2147484081" r:id="rId74"/>
    <p:sldLayoutId id="2147484082" r:id="rId75"/>
    <p:sldLayoutId id="2147484083" r:id="rId76"/>
    <p:sldLayoutId id="2147484084" r:id="rId77"/>
    <p:sldLayoutId id="2147484085" r:id="rId78"/>
    <p:sldLayoutId id="2147484086" r:id="rId79"/>
    <p:sldLayoutId id="2147484087" r:id="rId80"/>
    <p:sldLayoutId id="2147484063" r:id="rId81"/>
    <p:sldLayoutId id="2147484064" r:id="rId82"/>
    <p:sldLayoutId id="2147484065" r:id="rId83"/>
    <p:sldLayoutId id="2147484066" r:id="rId84"/>
    <p:sldLayoutId id="2147484067" r:id="rId85"/>
    <p:sldLayoutId id="2147484068" r:id="rId86"/>
    <p:sldLayoutId id="2147484069" r:id="rId87"/>
    <p:sldLayoutId id="2147484070" r:id="rId88"/>
    <p:sldLayoutId id="2147484071" r:id="rId89"/>
    <p:sldLayoutId id="2147484072" r:id="rId90"/>
    <p:sldLayoutId id="2147484048" r:id="rId91"/>
    <p:sldLayoutId id="2147484049" r:id="rId92"/>
    <p:sldLayoutId id="2147484050" r:id="rId93"/>
    <p:sldLayoutId id="2147484051" r:id="rId94"/>
    <p:sldLayoutId id="2147484052" r:id="rId95"/>
    <p:sldLayoutId id="2147484053" r:id="rId96"/>
    <p:sldLayoutId id="2147484054" r:id="rId97"/>
    <p:sldLayoutId id="2147484055" r:id="rId98"/>
    <p:sldLayoutId id="2147484056" r:id="rId99"/>
    <p:sldLayoutId id="2147484057" r:id="rId100"/>
    <p:sldLayoutId id="2147484041" r:id="rId101"/>
    <p:sldLayoutId id="2147484042" r:id="rId102"/>
    <p:sldLayoutId id="2147484038" r:id="rId103"/>
    <p:sldLayoutId id="2147484039" r:id="rId104"/>
    <p:sldLayoutId id="2147484035" r:id="rId105"/>
    <p:sldLayoutId id="2147484036" r:id="rId106"/>
    <p:sldLayoutId id="2147484032" r:id="rId107"/>
    <p:sldLayoutId id="2147484033" r:id="rId108"/>
    <p:sldLayoutId id="2147484029" r:id="rId109"/>
    <p:sldLayoutId id="2147484030" r:id="rId110"/>
    <p:sldLayoutId id="2147483864" r:id="rId111"/>
    <p:sldLayoutId id="2147483865" r:id="rId112"/>
    <p:sldLayoutId id="2147483866" r:id="rId113"/>
    <p:sldLayoutId id="2147483867" r:id="rId114"/>
    <p:sldLayoutId id="2147483868" r:id="rId115"/>
    <p:sldLayoutId id="2147483869" r:id="rId116"/>
    <p:sldLayoutId id="2147483870" r:id="rId117"/>
    <p:sldLayoutId id="2147483871" r:id="rId118"/>
    <p:sldLayoutId id="2147483872" r:id="rId119"/>
    <p:sldLayoutId id="2147483873" r:id="rId120"/>
    <p:sldLayoutId id="2147483874" r:id="rId121"/>
    <p:sldLayoutId id="2147483875" r:id="rId122"/>
    <p:sldLayoutId id="2147483876" r:id="rId123"/>
    <p:sldLayoutId id="2147484124" r:id="rId124"/>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D5466C3-E6B2-0445-8925-E05FF351B730}"/>
              </a:ext>
            </a:extLst>
          </p:cNvPr>
          <p:cNvGraphicFramePr>
            <a:graphicFrameLocks noChangeAspect="1"/>
          </p:cNvGraphicFramePr>
          <p:nvPr userDrawn="1">
            <p:custDataLst>
              <p:tags r:id="rId30"/>
            </p:custDataLst>
            <p:extLst>
              <p:ext uri="{D42A27DB-BD31-4B8C-83A1-F6EECF244321}">
                <p14:modId xmlns:p14="http://schemas.microsoft.com/office/powerpoint/2010/main" val="40326280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31" imgW="7772400" imgH="10058400" progId="TCLayout.ActiveDocument.1">
                  <p:embed/>
                </p:oleObj>
              </mc:Choice>
              <mc:Fallback>
                <p:oleObj name="think-cell Slide" r:id="rId31" imgW="7772400" imgH="10058400" progId="TCLayout.ActiveDocument.1">
                  <p:embed/>
                  <p:pic>
                    <p:nvPicPr>
                      <p:cNvPr id="2" name="Object 1" hidden="1">
                        <a:extLst>
                          <a:ext uri="{FF2B5EF4-FFF2-40B4-BE49-F238E27FC236}">
                            <a16:creationId xmlns:a16="http://schemas.microsoft.com/office/drawing/2014/main" id="{ED5466C3-E6B2-0445-8925-E05FF351B730}"/>
                          </a:ext>
                        </a:extLst>
                      </p:cNvPr>
                      <p:cNvPicPr/>
                      <p:nvPr/>
                    </p:nvPicPr>
                    <p:blipFill>
                      <a:blip r:embed="rId32"/>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65464145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 id="2147483755" r:id="rId18"/>
    <p:sldLayoutId id="2147483756" r:id="rId19"/>
    <p:sldLayoutId id="2147483757" r:id="rId20"/>
    <p:sldLayoutId id="2147483758" r:id="rId21"/>
    <p:sldLayoutId id="2147483759" r:id="rId22"/>
    <p:sldLayoutId id="2147483760" r:id="rId23"/>
    <p:sldLayoutId id="2147483761" r:id="rId24"/>
    <p:sldLayoutId id="2147483762" r:id="rId25"/>
    <p:sldLayoutId id="2147483763" r:id="rId26"/>
    <p:sldLayoutId id="2147483764" r:id="rId27"/>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C67A9FA-6B51-D740-8A4F-8198D99A6886}"/>
              </a:ext>
            </a:extLst>
          </p:cNvPr>
          <p:cNvGraphicFramePr>
            <a:graphicFrameLocks noChangeAspect="1"/>
          </p:cNvGraphicFramePr>
          <p:nvPr userDrawn="1">
            <p:custDataLst>
              <p:tags r:id="rId30"/>
            </p:custDataLst>
            <p:extLst>
              <p:ext uri="{D42A27DB-BD31-4B8C-83A1-F6EECF244321}">
                <p14:modId xmlns:p14="http://schemas.microsoft.com/office/powerpoint/2010/main" val="3185498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31" imgW="7772400" imgH="10058400" progId="TCLayout.ActiveDocument.1">
                  <p:embed/>
                </p:oleObj>
              </mc:Choice>
              <mc:Fallback>
                <p:oleObj name="think-cell Slide" r:id="rId31" imgW="7772400" imgH="10058400" progId="TCLayout.ActiveDocument.1">
                  <p:embed/>
                  <p:pic>
                    <p:nvPicPr>
                      <p:cNvPr id="2" name="Object 1" hidden="1">
                        <a:extLst>
                          <a:ext uri="{FF2B5EF4-FFF2-40B4-BE49-F238E27FC236}">
                            <a16:creationId xmlns:a16="http://schemas.microsoft.com/office/drawing/2014/main" id="{AC67A9FA-6B51-D740-8A4F-8198D99A6886}"/>
                          </a:ext>
                        </a:extLst>
                      </p:cNvPr>
                      <p:cNvPicPr/>
                      <p:nvPr/>
                    </p:nvPicPr>
                    <p:blipFill>
                      <a:blip r:embed="rId32"/>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35484835"/>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 id="2147483779" r:id="rId14"/>
    <p:sldLayoutId id="2147483780" r:id="rId15"/>
    <p:sldLayoutId id="2147483781" r:id="rId16"/>
    <p:sldLayoutId id="2147483782" r:id="rId17"/>
    <p:sldLayoutId id="2147483783" r:id="rId18"/>
    <p:sldLayoutId id="2147483784" r:id="rId19"/>
    <p:sldLayoutId id="2147483785" r:id="rId20"/>
    <p:sldLayoutId id="2147483786" r:id="rId21"/>
    <p:sldLayoutId id="2147483787" r:id="rId22"/>
    <p:sldLayoutId id="2147483788" r:id="rId23"/>
    <p:sldLayoutId id="2147483789" r:id="rId24"/>
    <p:sldLayoutId id="2147483790" r:id="rId25"/>
    <p:sldLayoutId id="2147483791" r:id="rId26"/>
    <p:sldLayoutId id="2147483792" r:id="rId27"/>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D73178-599C-0845-AA56-BB59160B4981}"/>
              </a:ext>
            </a:extLst>
          </p:cNvPr>
          <p:cNvGraphicFramePr>
            <a:graphicFrameLocks noChangeAspect="1"/>
          </p:cNvGraphicFramePr>
          <p:nvPr userDrawn="1">
            <p:custDataLst>
              <p:tags r:id="rId30"/>
            </p:custDataLst>
            <p:extLst>
              <p:ext uri="{D42A27DB-BD31-4B8C-83A1-F6EECF244321}">
                <p14:modId xmlns:p14="http://schemas.microsoft.com/office/powerpoint/2010/main" val="633407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31" imgW="7772400" imgH="10058400" progId="TCLayout.ActiveDocument.1">
                  <p:embed/>
                </p:oleObj>
              </mc:Choice>
              <mc:Fallback>
                <p:oleObj name="think-cell Slide" r:id="rId31" imgW="7772400" imgH="10058400" progId="TCLayout.ActiveDocument.1">
                  <p:embed/>
                  <p:pic>
                    <p:nvPicPr>
                      <p:cNvPr id="2" name="Object 1" hidden="1">
                        <a:extLst>
                          <a:ext uri="{FF2B5EF4-FFF2-40B4-BE49-F238E27FC236}">
                            <a16:creationId xmlns:a16="http://schemas.microsoft.com/office/drawing/2014/main" id="{9CD73178-599C-0845-AA56-BB59160B4981}"/>
                          </a:ext>
                        </a:extLst>
                      </p:cNvPr>
                      <p:cNvPicPr/>
                      <p:nvPr/>
                    </p:nvPicPr>
                    <p:blipFill>
                      <a:blip r:embed="rId32"/>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50526832"/>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15"/>
    <p:sldLayoutId id="2147483809" r:id="rId16"/>
    <p:sldLayoutId id="2147483810" r:id="rId17"/>
    <p:sldLayoutId id="2147483811" r:id="rId18"/>
    <p:sldLayoutId id="2147483812" r:id="rId19"/>
    <p:sldLayoutId id="2147483813" r:id="rId20"/>
    <p:sldLayoutId id="2147483814" r:id="rId21"/>
    <p:sldLayoutId id="2147483815" r:id="rId22"/>
    <p:sldLayoutId id="2147483816" r:id="rId23"/>
    <p:sldLayoutId id="2147483817" r:id="rId24"/>
    <p:sldLayoutId id="2147483818" r:id="rId25"/>
    <p:sldLayoutId id="2147483819" r:id="rId26"/>
    <p:sldLayoutId id="2147483820" r:id="rId27"/>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7F25F9E-5357-3540-A3BA-DD313DB70C8F}"/>
              </a:ext>
            </a:extLst>
          </p:cNvPr>
          <p:cNvGraphicFramePr>
            <a:graphicFrameLocks noChangeAspect="1"/>
          </p:cNvGraphicFramePr>
          <p:nvPr userDrawn="1">
            <p:custDataLst>
              <p:tags r:id="rId30"/>
            </p:custDataLst>
            <p:extLst>
              <p:ext uri="{D42A27DB-BD31-4B8C-83A1-F6EECF244321}">
                <p14:modId xmlns:p14="http://schemas.microsoft.com/office/powerpoint/2010/main" val="1902407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31" imgW="7772400" imgH="10058400" progId="TCLayout.ActiveDocument.1">
                  <p:embed/>
                </p:oleObj>
              </mc:Choice>
              <mc:Fallback>
                <p:oleObj name="think-cell Slide" r:id="rId31" imgW="7772400" imgH="10058400" progId="TCLayout.ActiveDocument.1">
                  <p:embed/>
                  <p:pic>
                    <p:nvPicPr>
                      <p:cNvPr id="2" name="Object 1" hidden="1">
                        <a:extLst>
                          <a:ext uri="{FF2B5EF4-FFF2-40B4-BE49-F238E27FC236}">
                            <a16:creationId xmlns:a16="http://schemas.microsoft.com/office/drawing/2014/main" id="{A7F25F9E-5357-3540-A3BA-DD313DB70C8F}"/>
                          </a:ext>
                        </a:extLst>
                      </p:cNvPr>
                      <p:cNvPicPr/>
                      <p:nvPr/>
                    </p:nvPicPr>
                    <p:blipFill>
                      <a:blip r:embed="rId32"/>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3"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2066780587"/>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 id="2147483834" r:id="rId13"/>
    <p:sldLayoutId id="2147483835" r:id="rId14"/>
    <p:sldLayoutId id="2147483836" r:id="rId15"/>
    <p:sldLayoutId id="2147483837" r:id="rId16"/>
    <p:sldLayoutId id="2147483838" r:id="rId17"/>
    <p:sldLayoutId id="2147483839" r:id="rId18"/>
    <p:sldLayoutId id="2147483840" r:id="rId19"/>
    <p:sldLayoutId id="2147483841" r:id="rId20"/>
    <p:sldLayoutId id="2147483842" r:id="rId21"/>
    <p:sldLayoutId id="2147483843" r:id="rId22"/>
    <p:sldLayoutId id="2147483844" r:id="rId23"/>
    <p:sldLayoutId id="2147483845" r:id="rId24"/>
    <p:sldLayoutId id="2147483846" r:id="rId25"/>
    <p:sldLayoutId id="2147483847" r:id="rId26"/>
    <p:sldLayoutId id="2147483848" r:id="rId27"/>
  </p:sldLayoutIdLst>
  <p:hf sldNum="0" hdr="0" ft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14347D0-009A-A143-90C0-48C2648172AE}"/>
              </a:ext>
            </a:extLst>
          </p:cNvPr>
          <p:cNvGraphicFramePr>
            <a:graphicFrameLocks noChangeAspect="1"/>
          </p:cNvGraphicFramePr>
          <p:nvPr userDrawn="1">
            <p:custDataLst>
              <p:tags r:id="rId32"/>
            </p:custDataLst>
            <p:extLst>
              <p:ext uri="{D42A27DB-BD31-4B8C-83A1-F6EECF244321}">
                <p14:modId xmlns:p14="http://schemas.microsoft.com/office/powerpoint/2010/main" val="2896417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33" imgW="7772400" imgH="10058400" progId="TCLayout.ActiveDocument.1">
                  <p:embed/>
                </p:oleObj>
              </mc:Choice>
              <mc:Fallback>
                <p:oleObj name="think-cell Slide" r:id="rId33" imgW="7772400" imgH="10058400" progId="TCLayout.ActiveDocument.1">
                  <p:embed/>
                  <p:pic>
                    <p:nvPicPr>
                      <p:cNvPr id="2" name="Object 1" hidden="1">
                        <a:extLst>
                          <a:ext uri="{FF2B5EF4-FFF2-40B4-BE49-F238E27FC236}">
                            <a16:creationId xmlns:a16="http://schemas.microsoft.com/office/drawing/2014/main" id="{D14347D0-009A-A143-90C0-48C2648172AE}"/>
                          </a:ext>
                        </a:extLst>
                      </p:cNvPr>
                      <p:cNvPicPr/>
                      <p:nvPr/>
                    </p:nvPicPr>
                    <p:blipFill>
                      <a:blip r:embed="rId34"/>
                      <a:stretch>
                        <a:fillRect/>
                      </a:stretch>
                    </p:blipFill>
                    <p:spPr>
                      <a:xfrm>
                        <a:off x="1588" y="1588"/>
                        <a:ext cx="1587" cy="1587"/>
                      </a:xfrm>
                      <a:prstGeom prst="rect">
                        <a:avLst/>
                      </a:prstGeom>
                    </p:spPr>
                  </p:pic>
                </p:oleObj>
              </mc:Fallback>
            </mc:AlternateContent>
          </a:graphicData>
        </a:graphic>
      </p:graphicFrame>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PURPLE</a:t>
            </a:r>
            <a:r>
              <a:rPr lang="en-US" sz="2400" baseline="0">
                <a:solidFill>
                  <a:schemeClr val="tx1"/>
                </a:solidFill>
              </a:rPr>
              <a:t> SLIDES </a:t>
            </a:r>
            <a:r>
              <a:rPr lang="mr-IN" sz="2400" baseline="0">
                <a:solidFill>
                  <a:schemeClr val="tx1"/>
                </a:solidFill>
              </a:rPr>
              <a:t>–</a:t>
            </a:r>
            <a:r>
              <a:rPr lang="en-US" sz="2400" baseline="0">
                <a:solidFill>
                  <a:schemeClr val="tx1"/>
                </a:solidFill>
              </a:rPr>
              <a:t> HR USE</a:t>
            </a:r>
          </a:p>
        </p:txBody>
      </p:sp>
      <p:pic>
        <p:nvPicPr>
          <p:cNvPr id="4" name="Picture 3"/>
          <p:cNvPicPr>
            <a:picLocks noChangeAspect="1"/>
          </p:cNvPicPr>
          <p:nvPr userDrawn="1"/>
        </p:nvPicPr>
        <p:blipFill>
          <a:blip r:embed="rId35"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grpSp>
        <p:nvGrpSpPr>
          <p:cNvPr id="3" name="Group 2"/>
          <p:cNvGrpSpPr/>
          <p:nvPr userDrawn="1"/>
        </p:nvGrpSpPr>
        <p:grpSpPr>
          <a:xfrm>
            <a:off x="182404" y="6464300"/>
            <a:ext cx="3518293" cy="221722"/>
            <a:chOff x="182404" y="6464300"/>
            <a:chExt cx="3518293" cy="221722"/>
          </a:xfrm>
        </p:grpSpPr>
        <p:cxnSp>
          <p:nvCxnSpPr>
            <p:cNvPr id="11" name="Straight Connector 10"/>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10" name="Rounded Rectangle 9"/>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2" name="Rounded Rectangle 11"/>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ounded Rectangle 13"/>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0"/>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5" name="Rectangle 14"/>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4271480506"/>
      </p:ext>
    </p:extLst>
  </p:cSld>
  <p:clrMap bg1="lt1" tx1="dk1" bg2="lt2" tx2="dk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 id="2147483889" r:id="rId12"/>
    <p:sldLayoutId id="2147483890" r:id="rId13"/>
    <p:sldLayoutId id="2147483891" r:id="rId14"/>
    <p:sldLayoutId id="2147483892" r:id="rId15"/>
    <p:sldLayoutId id="2147483893" r:id="rId16"/>
    <p:sldLayoutId id="2147483894" r:id="rId17"/>
    <p:sldLayoutId id="2147483895" r:id="rId18"/>
    <p:sldLayoutId id="2147483896" r:id="rId19"/>
    <p:sldLayoutId id="2147483897" r:id="rId20"/>
    <p:sldLayoutId id="2147483898" r:id="rId21"/>
    <p:sldLayoutId id="2147483899" r:id="rId22"/>
    <p:sldLayoutId id="2147483900" r:id="rId23"/>
    <p:sldLayoutId id="2147483901" r:id="rId24"/>
    <p:sldLayoutId id="2147483902" r:id="rId25"/>
    <p:sldLayoutId id="2147483903" r:id="rId26"/>
    <p:sldLayoutId id="2147483904" r:id="rId27"/>
    <p:sldLayoutId id="2147483905" r:id="rId28"/>
    <p:sldLayoutId id="2147483906" r:id="rId29"/>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8EF945-1369-8240-AA93-4FA492C2136A}"/>
              </a:ext>
            </a:extLst>
          </p:cNvPr>
          <p:cNvGraphicFramePr>
            <a:graphicFrameLocks noChangeAspect="1"/>
          </p:cNvGraphicFramePr>
          <p:nvPr userDrawn="1">
            <p:custDataLst>
              <p:tags r:id="rId31"/>
            </p:custDataLst>
            <p:extLst>
              <p:ext uri="{D42A27DB-BD31-4B8C-83A1-F6EECF244321}">
                <p14:modId xmlns:p14="http://schemas.microsoft.com/office/powerpoint/2010/main" val="2339473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32" imgW="7772400" imgH="10058400" progId="TCLayout.ActiveDocument.1">
                  <p:embed/>
                </p:oleObj>
              </mc:Choice>
              <mc:Fallback>
                <p:oleObj name="think-cell Slide" r:id="rId32" imgW="7772400" imgH="10058400" progId="TCLayout.ActiveDocument.1">
                  <p:embed/>
                  <p:pic>
                    <p:nvPicPr>
                      <p:cNvPr id="2" name="Object 1" hidden="1">
                        <a:extLst>
                          <a:ext uri="{FF2B5EF4-FFF2-40B4-BE49-F238E27FC236}">
                            <a16:creationId xmlns:a16="http://schemas.microsoft.com/office/drawing/2014/main" id="{B88EF945-1369-8240-AA93-4FA492C2136A}"/>
                          </a:ext>
                        </a:extLst>
                      </p:cNvPr>
                      <p:cNvPicPr/>
                      <p:nvPr/>
                    </p:nvPicPr>
                    <p:blipFill>
                      <a:blip r:embed="rId33"/>
                      <a:stretch>
                        <a:fillRect/>
                      </a:stretch>
                    </p:blipFill>
                    <p:spPr>
                      <a:xfrm>
                        <a:off x="1588" y="1588"/>
                        <a:ext cx="1587" cy="1587"/>
                      </a:xfrm>
                      <a:prstGeom prst="rect">
                        <a:avLst/>
                      </a:prstGeom>
                    </p:spPr>
                  </p:pic>
                </p:oleObj>
              </mc:Fallback>
            </mc:AlternateContent>
          </a:graphicData>
        </a:graphic>
      </p:graphicFrame>
      <p:grpSp>
        <p:nvGrpSpPr>
          <p:cNvPr id="24" name="Group 23"/>
          <p:cNvGrpSpPr/>
          <p:nvPr userDrawn="1"/>
        </p:nvGrpSpPr>
        <p:grpSpPr>
          <a:xfrm>
            <a:off x="182404" y="6464300"/>
            <a:ext cx="3518293" cy="221722"/>
            <a:chOff x="182404" y="6464300"/>
            <a:chExt cx="3518293" cy="221722"/>
          </a:xfrm>
        </p:grpSpPr>
        <p:cxnSp>
          <p:nvCxnSpPr>
            <p:cNvPr id="28" name="Straight Connector 27"/>
            <p:cNvCxnSpPr/>
            <p:nvPr userDrawn="1"/>
          </p:nvCxnSpPr>
          <p:spPr>
            <a:xfrm>
              <a:off x="2548398"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userDrawn="1"/>
          </p:nvCxnSpPr>
          <p:spPr>
            <a:xfrm>
              <a:off x="1370281" y="6558017"/>
              <a:ext cx="1144933" cy="0"/>
            </a:xfrm>
            <a:prstGeom prst="line">
              <a:avLst/>
            </a:prstGeom>
            <a:ln w="38100">
              <a:solidFill>
                <a:schemeClr val="tx1"/>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userDrawn="1"/>
          </p:nvCxnSpPr>
          <p:spPr>
            <a:xfrm flipV="1">
              <a:off x="182404" y="6564191"/>
              <a:ext cx="1149102" cy="14409"/>
            </a:xfrm>
            <a:prstGeom prst="line">
              <a:avLst/>
            </a:prstGeom>
            <a:ln w="38100">
              <a:solidFill>
                <a:schemeClr val="accent6">
                  <a:lumMod val="50000"/>
                </a:schemeClr>
              </a:solidFill>
              <a:headEnd type="none" w="med" len="med"/>
              <a:tailEnd type="none" w="med" len="med"/>
            </a:ln>
            <a:effectLst>
              <a:outerShdw blurRad="50800" dist="12700" dir="16200000" rotWithShape="0">
                <a:schemeClr val="tx1">
                  <a:lumMod val="50000"/>
                  <a:alpha val="85000"/>
                </a:schemeClr>
              </a:outerShdw>
            </a:effectLst>
          </p:spPr>
          <p:style>
            <a:lnRef idx="1">
              <a:schemeClr val="accent1"/>
            </a:lnRef>
            <a:fillRef idx="0">
              <a:schemeClr val="accent1"/>
            </a:fillRef>
            <a:effectRef idx="0">
              <a:schemeClr val="accent1"/>
            </a:effectRef>
            <a:fontRef idx="minor">
              <a:schemeClr val="tx1"/>
            </a:fontRef>
          </p:style>
        </p:cxnSp>
        <p:sp>
          <p:nvSpPr>
            <p:cNvPr id="32" name="Rounded Rectangle 31"/>
            <p:cNvSpPr/>
            <p:nvPr userDrawn="1"/>
          </p:nvSpPr>
          <p:spPr>
            <a:xfrm>
              <a:off x="2552617" y="6464300"/>
              <a:ext cx="1148080" cy="221722"/>
            </a:xfrm>
            <a:prstGeom prst="round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3" name="Rounded Rectangle 32"/>
            <p:cNvSpPr/>
            <p:nvPr userDrawn="1"/>
          </p:nvSpPr>
          <p:spPr>
            <a:xfrm>
              <a:off x="1366112" y="6464300"/>
              <a:ext cx="1148080" cy="221722"/>
            </a:xfrm>
            <a:prstGeom prst="round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36" name="Rounded Rectangle 35"/>
            <p:cNvSpPr/>
            <p:nvPr userDrawn="1"/>
          </p:nvSpPr>
          <p:spPr>
            <a:xfrm>
              <a:off x="182404" y="6464300"/>
              <a:ext cx="1148080" cy="221722"/>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grpSp>
      <p:sp>
        <p:nvSpPr>
          <p:cNvPr id="26" name="Title Placeholder 1"/>
          <p:cNvSpPr txBox="1">
            <a:spLocks/>
          </p:cNvSpPr>
          <p:nvPr userDrawn="1"/>
        </p:nvSpPr>
        <p:spPr>
          <a:xfrm>
            <a:off x="311873" y="207732"/>
            <a:ext cx="10069255" cy="332399"/>
          </a:xfrm>
          <a:prstGeom prst="rect">
            <a:avLst/>
          </a:prstGeom>
        </p:spPr>
        <p:txBody>
          <a:bodyPr vert="horz" wrap="square" lIns="0" tIns="0" rIns="0" bIns="0" rtlCol="0" anchor="t" anchorCtr="0">
            <a:spAutoFit/>
          </a:bodyPr>
          <a:lstStyle>
            <a:lvl1pPr algn="l" defTabSz="914400" rtl="0" eaLnBrk="1" latinLnBrk="0" hangingPunct="1">
              <a:lnSpc>
                <a:spcPct val="90000"/>
              </a:lnSpc>
              <a:spcBef>
                <a:spcPct val="0"/>
              </a:spcBef>
              <a:buNone/>
              <a:defRPr sz="2000" kern="1200">
                <a:solidFill>
                  <a:schemeClr val="tx1"/>
                </a:solidFill>
                <a:latin typeface="+mj-lt"/>
                <a:ea typeface="+mj-ea"/>
                <a:cs typeface="+mj-cs"/>
              </a:defRPr>
            </a:lvl1pPr>
          </a:lstStyle>
          <a:p>
            <a:r>
              <a:rPr lang="en-US" sz="2400">
                <a:solidFill>
                  <a:schemeClr val="tx1"/>
                </a:solidFill>
              </a:rPr>
              <a:t>LLA GREEN</a:t>
            </a:r>
            <a:r>
              <a:rPr lang="en-US" sz="2400" baseline="0">
                <a:solidFill>
                  <a:schemeClr val="tx1"/>
                </a:solidFill>
              </a:rPr>
              <a:t> SLIDES </a:t>
            </a:r>
            <a:r>
              <a:rPr lang="mr-IN" sz="2400" baseline="0">
                <a:solidFill>
                  <a:schemeClr val="tx1"/>
                </a:solidFill>
              </a:rPr>
              <a:t>–</a:t>
            </a:r>
            <a:r>
              <a:rPr lang="en-US" sz="2400" baseline="0">
                <a:solidFill>
                  <a:schemeClr val="tx1"/>
                </a:solidFill>
              </a:rPr>
              <a:t> FINANCE USE</a:t>
            </a:r>
          </a:p>
        </p:txBody>
      </p:sp>
      <p:pic>
        <p:nvPicPr>
          <p:cNvPr id="4" name="Picture 3"/>
          <p:cNvPicPr>
            <a:picLocks noChangeAspect="1"/>
          </p:cNvPicPr>
          <p:nvPr userDrawn="1"/>
        </p:nvPicPr>
        <p:blipFill>
          <a:blip r:embed="rId34" cstate="email">
            <a:extLst>
              <a:ext uri="{28A0092B-C50C-407E-A947-70E740481C1C}">
                <a14:useLocalDpi xmlns:a14="http://schemas.microsoft.com/office/drawing/2010/main"/>
              </a:ext>
            </a:extLst>
          </a:blip>
          <a:stretch>
            <a:fillRect/>
          </a:stretch>
        </p:blipFill>
        <p:spPr>
          <a:xfrm>
            <a:off x="11308080" y="155393"/>
            <a:ext cx="678613" cy="823855"/>
          </a:xfrm>
          <a:prstGeom prst="rect">
            <a:avLst/>
          </a:prstGeom>
          <a:effectLst/>
        </p:spPr>
      </p:pic>
      <p:sp>
        <p:nvSpPr>
          <p:cNvPr id="25" name="Rectangle 24"/>
          <p:cNvSpPr/>
          <p:nvPr userDrawn="1"/>
        </p:nvSpPr>
        <p:spPr>
          <a:xfrm>
            <a:off x="0" y="6575301"/>
            <a:ext cx="12191999" cy="2826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cxnSp>
        <p:nvCxnSpPr>
          <p:cNvPr id="27" name="Straight Connector 26"/>
          <p:cNvCxnSpPr/>
          <p:nvPr userDrawn="1"/>
        </p:nvCxnSpPr>
        <p:spPr>
          <a:xfrm>
            <a:off x="0" y="6560530"/>
            <a:ext cx="12192000" cy="0"/>
          </a:xfrm>
          <a:prstGeom prst="line">
            <a:avLst/>
          </a:prstGeom>
          <a:ln w="38100">
            <a:solidFill>
              <a:schemeClr val="bg2"/>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1" name="Rectangle 30"/>
          <p:cNvSpPr/>
          <p:nvPr userDrawn="1"/>
        </p:nvSpPr>
        <p:spPr>
          <a:xfrm>
            <a:off x="0" y="-1"/>
            <a:ext cx="11201401" cy="1005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lstStyle/>
          <a:p>
            <a:pPr algn="ctr"/>
            <a:endParaRPr lang="en-US" sz="1600">
              <a:solidFill>
                <a:schemeClr val="bg1"/>
              </a:solidFill>
            </a:endParaRPr>
          </a:p>
        </p:txBody>
      </p:sp>
      <p:sp>
        <p:nvSpPr>
          <p:cNvPr id="14" name="Rectangle 13"/>
          <p:cNvSpPr/>
          <p:nvPr userDrawn="1"/>
        </p:nvSpPr>
        <p:spPr>
          <a:xfrm>
            <a:off x="2662844" y="6591301"/>
            <a:ext cx="6866312" cy="266700"/>
          </a:xfrm>
          <a:prstGeom prst="rect">
            <a:avLst/>
          </a:prstGeom>
          <a:noFill/>
          <a:ln>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000" b="1">
                <a:solidFill>
                  <a:srgbClr val="FF0000"/>
                </a:solidFill>
              </a:rPr>
              <a:t>CONFIDENTIAL – NOT FOR DISTRIBUTION</a:t>
            </a:r>
          </a:p>
        </p:txBody>
      </p:sp>
    </p:spTree>
    <p:extLst>
      <p:ext uri="{BB962C8B-B14F-4D97-AF65-F5344CB8AC3E}">
        <p14:creationId xmlns:p14="http://schemas.microsoft.com/office/powerpoint/2010/main" val="3709746794"/>
      </p:ext>
    </p:extLst>
  </p:cSld>
  <p:clrMap bg1="lt1" tx1="dk1" bg2="lt2" tx2="dk2" accent1="accent1" accent2="accent2" accent3="accent3" accent4="accent4" accent5="accent5" accent6="accent6" hlink="hlink" folHlink="folHlink"/>
  <p:sldLayoutIdLst>
    <p:sldLayoutId id="2147483910" r:id="rId1"/>
    <p:sldLayoutId id="2147483911" r:id="rId2"/>
    <p:sldLayoutId id="2147483912" r:id="rId3"/>
    <p:sldLayoutId id="2147483913" r:id="rId4"/>
    <p:sldLayoutId id="2147483914" r:id="rId5"/>
    <p:sldLayoutId id="2147483915" r:id="rId6"/>
    <p:sldLayoutId id="2147483916" r:id="rId7"/>
    <p:sldLayoutId id="2147483917" r:id="rId8"/>
    <p:sldLayoutId id="2147483918" r:id="rId9"/>
    <p:sldLayoutId id="2147483919" r:id="rId10"/>
    <p:sldLayoutId id="2147483920" r:id="rId11"/>
    <p:sldLayoutId id="2147483921" r:id="rId12"/>
    <p:sldLayoutId id="2147483922" r:id="rId13"/>
    <p:sldLayoutId id="2147483923" r:id="rId14"/>
    <p:sldLayoutId id="2147483924" r:id="rId15"/>
    <p:sldLayoutId id="2147483925" r:id="rId16"/>
    <p:sldLayoutId id="2147483926" r:id="rId17"/>
    <p:sldLayoutId id="2147483927" r:id="rId18"/>
    <p:sldLayoutId id="2147483928" r:id="rId19"/>
    <p:sldLayoutId id="2147483929" r:id="rId20"/>
    <p:sldLayoutId id="2147483930" r:id="rId21"/>
    <p:sldLayoutId id="2147483931" r:id="rId22"/>
    <p:sldLayoutId id="2147483932" r:id="rId23"/>
    <p:sldLayoutId id="2147483933" r:id="rId24"/>
    <p:sldLayoutId id="2147483934" r:id="rId25"/>
    <p:sldLayoutId id="2147483935" r:id="rId26"/>
    <p:sldLayoutId id="2147483936" r:id="rId27"/>
    <p:sldLayoutId id="2147483937" r:id="rId2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31.emf"/><Relationship Id="rId3" Type="http://schemas.openxmlformats.org/officeDocument/2006/relationships/slideLayout" Target="../slideLayouts/slideLayout6.xml"/><Relationship Id="rId7" Type="http://schemas.openxmlformats.org/officeDocument/2006/relationships/image" Target="../media/image34.png"/><Relationship Id="rId12" Type="http://schemas.openxmlformats.org/officeDocument/2006/relationships/oleObject" Target="../embeddings/oleObject19.bin"/><Relationship Id="rId2" Type="http://schemas.openxmlformats.org/officeDocument/2006/relationships/tags" Target="../tags/tag107.xml"/><Relationship Id="rId1" Type="http://schemas.openxmlformats.org/officeDocument/2006/relationships/vmlDrawing" Target="../drawings/vmlDrawing19.v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jpeg"/><Relationship Id="rId10" Type="http://schemas.openxmlformats.org/officeDocument/2006/relationships/image" Target="../media/image37.png"/><Relationship Id="rId4" Type="http://schemas.openxmlformats.org/officeDocument/2006/relationships/notesSlide" Target="../notesSlides/notesSlide1.xml"/><Relationship Id="rId9" Type="http://schemas.openxmlformats.org/officeDocument/2006/relationships/image" Target="../media/image36.png"/></Relationships>
</file>

<file path=ppt/slides/_rels/slide10.xml.rels><?xml version="1.0" encoding="UTF-8" standalone="yes"?>
<Relationships xmlns="http://schemas.openxmlformats.org/package/2006/relationships"><Relationship Id="rId8" Type="http://schemas.openxmlformats.org/officeDocument/2006/relationships/image" Target="../media/image63.jpeg"/><Relationship Id="rId13" Type="http://schemas.openxmlformats.org/officeDocument/2006/relationships/image" Target="../media/image68.png"/><Relationship Id="rId3" Type="http://schemas.openxmlformats.org/officeDocument/2006/relationships/slideLayout" Target="../slideLayouts/slideLayout3.xml"/><Relationship Id="rId7" Type="http://schemas.openxmlformats.org/officeDocument/2006/relationships/image" Target="../media/image62.png"/><Relationship Id="rId12" Type="http://schemas.openxmlformats.org/officeDocument/2006/relationships/image" Target="../media/image67.png"/><Relationship Id="rId17" Type="http://schemas.openxmlformats.org/officeDocument/2006/relationships/image" Target="../media/image72.png"/><Relationship Id="rId2" Type="http://schemas.openxmlformats.org/officeDocument/2006/relationships/tags" Target="../tags/tag122.xml"/><Relationship Id="rId16" Type="http://schemas.openxmlformats.org/officeDocument/2006/relationships/image" Target="../media/image71.png"/><Relationship Id="rId1" Type="http://schemas.openxmlformats.org/officeDocument/2006/relationships/vmlDrawing" Target="../drawings/vmlDrawing23.vml"/><Relationship Id="rId6" Type="http://schemas.openxmlformats.org/officeDocument/2006/relationships/image" Target="../media/image61.png"/><Relationship Id="rId11" Type="http://schemas.openxmlformats.org/officeDocument/2006/relationships/image" Target="../media/image66.png"/><Relationship Id="rId5" Type="http://schemas.openxmlformats.org/officeDocument/2006/relationships/image" Target="../media/image60.emf"/><Relationship Id="rId15" Type="http://schemas.openxmlformats.org/officeDocument/2006/relationships/image" Target="../media/image70.png"/><Relationship Id="rId10" Type="http://schemas.openxmlformats.org/officeDocument/2006/relationships/image" Target="../media/image65.png"/><Relationship Id="rId4" Type="http://schemas.openxmlformats.org/officeDocument/2006/relationships/oleObject" Target="../embeddings/oleObject23.bin"/><Relationship Id="rId9" Type="http://schemas.openxmlformats.org/officeDocument/2006/relationships/image" Target="../media/image64.png"/><Relationship Id="rId14" Type="http://schemas.openxmlformats.org/officeDocument/2006/relationships/image" Target="../media/image69.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3.xml"/><Relationship Id="rId1" Type="http://schemas.openxmlformats.org/officeDocument/2006/relationships/vmlDrawing" Target="../drawings/vmlDrawing24.vml"/><Relationship Id="rId6" Type="http://schemas.openxmlformats.org/officeDocument/2006/relationships/image" Target="../media/image73.tiff"/><Relationship Id="rId5" Type="http://schemas.openxmlformats.org/officeDocument/2006/relationships/image" Target="../media/image60.emf"/><Relationship Id="rId4" Type="http://schemas.openxmlformats.org/officeDocument/2006/relationships/oleObject" Target="../embeddings/oleObject24.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4.xml"/><Relationship Id="rId1" Type="http://schemas.openxmlformats.org/officeDocument/2006/relationships/vmlDrawing" Target="../drawings/vmlDrawing25.vml"/><Relationship Id="rId6" Type="http://schemas.openxmlformats.org/officeDocument/2006/relationships/image" Target="../media/image75.jpeg"/><Relationship Id="rId5" Type="http://schemas.openxmlformats.org/officeDocument/2006/relationships/image" Target="../media/image74.emf"/><Relationship Id="rId4" Type="http://schemas.openxmlformats.org/officeDocument/2006/relationships/oleObject" Target="../embeddings/oleObject25.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5.xml"/><Relationship Id="rId1" Type="http://schemas.openxmlformats.org/officeDocument/2006/relationships/vmlDrawing" Target="../drawings/vmlDrawing26.vml"/><Relationship Id="rId6" Type="http://schemas.openxmlformats.org/officeDocument/2006/relationships/image" Target="../media/image73.tiff"/><Relationship Id="rId5" Type="http://schemas.openxmlformats.org/officeDocument/2006/relationships/image" Target="../media/image60.emf"/><Relationship Id="rId4" Type="http://schemas.openxmlformats.org/officeDocument/2006/relationships/oleObject" Target="../embeddings/oleObject26.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6.jpeg"/><Relationship Id="rId2" Type="http://schemas.openxmlformats.org/officeDocument/2006/relationships/tags" Target="../tags/tag126.xml"/><Relationship Id="rId1" Type="http://schemas.openxmlformats.org/officeDocument/2006/relationships/vmlDrawing" Target="../drawings/vmlDrawing27.vml"/><Relationship Id="rId6" Type="http://schemas.openxmlformats.org/officeDocument/2006/relationships/image" Target="../media/image58.emf"/><Relationship Id="rId5" Type="http://schemas.openxmlformats.org/officeDocument/2006/relationships/oleObject" Target="../embeddings/oleObject27.bin"/><Relationship Id="rId4" Type="http://schemas.openxmlformats.org/officeDocument/2006/relationships/notesSlide" Target="../notesSlides/notesSlide3.xml"/></Relationships>
</file>

<file path=ppt/slides/_rels/slide15.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slideLayout" Target="../slideLayouts/slideLayout3.xml"/><Relationship Id="rId7" Type="http://schemas.openxmlformats.org/officeDocument/2006/relationships/image" Target="../media/image77.jpeg"/><Relationship Id="rId2" Type="http://schemas.openxmlformats.org/officeDocument/2006/relationships/tags" Target="../tags/tag127.xml"/><Relationship Id="rId1" Type="http://schemas.openxmlformats.org/officeDocument/2006/relationships/vmlDrawing" Target="../drawings/vmlDrawing28.vml"/><Relationship Id="rId6" Type="http://schemas.openxmlformats.org/officeDocument/2006/relationships/image" Target="../media/image58.emf"/><Relationship Id="rId5" Type="http://schemas.openxmlformats.org/officeDocument/2006/relationships/oleObject" Target="../embeddings/oleObject28.bin"/><Relationship Id="rId10" Type="http://schemas.openxmlformats.org/officeDocument/2006/relationships/image" Target="../media/image80.jpeg"/><Relationship Id="rId4" Type="http://schemas.openxmlformats.org/officeDocument/2006/relationships/notesSlide" Target="../notesSlides/notesSlide4.xml"/><Relationship Id="rId9" Type="http://schemas.openxmlformats.org/officeDocument/2006/relationships/image" Target="../media/image79.jpe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40.emf"/><Relationship Id="rId2" Type="http://schemas.openxmlformats.org/officeDocument/2006/relationships/image" Target="../media/image39.png"/><Relationship Id="rId1" Type="http://schemas.openxmlformats.org/officeDocument/2006/relationships/slideLayout" Target="../slideLayouts/slideLayout387.xml"/><Relationship Id="rId4" Type="http://schemas.openxmlformats.org/officeDocument/2006/relationships/image" Target="../media/image41.emf"/></Relationships>
</file>

<file path=ppt/slides/_rels/slide4.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tags" Target="../tags/tag114.xml"/><Relationship Id="rId13" Type="http://schemas.openxmlformats.org/officeDocument/2006/relationships/tags" Target="../tags/tag119.xml"/><Relationship Id="rId18" Type="http://schemas.openxmlformats.org/officeDocument/2006/relationships/chart" Target="../charts/chart2.xml"/><Relationship Id="rId3" Type="http://schemas.openxmlformats.org/officeDocument/2006/relationships/tags" Target="../tags/tag109.xml"/><Relationship Id="rId7" Type="http://schemas.openxmlformats.org/officeDocument/2006/relationships/tags" Target="../tags/tag113.xml"/><Relationship Id="rId12" Type="http://schemas.openxmlformats.org/officeDocument/2006/relationships/tags" Target="../tags/tag118.xml"/><Relationship Id="rId17" Type="http://schemas.openxmlformats.org/officeDocument/2006/relationships/chart" Target="../charts/chart1.xml"/><Relationship Id="rId2" Type="http://schemas.openxmlformats.org/officeDocument/2006/relationships/tags" Target="../tags/tag108.xml"/><Relationship Id="rId16" Type="http://schemas.openxmlformats.org/officeDocument/2006/relationships/image" Target="../media/image43.emf"/><Relationship Id="rId20" Type="http://schemas.openxmlformats.org/officeDocument/2006/relationships/chart" Target="../charts/chart3.xml"/><Relationship Id="rId1" Type="http://schemas.openxmlformats.org/officeDocument/2006/relationships/vmlDrawing" Target="../drawings/vmlDrawing20.vml"/><Relationship Id="rId6" Type="http://schemas.openxmlformats.org/officeDocument/2006/relationships/tags" Target="../tags/tag112.xml"/><Relationship Id="rId11" Type="http://schemas.openxmlformats.org/officeDocument/2006/relationships/tags" Target="../tags/tag117.xml"/><Relationship Id="rId5" Type="http://schemas.openxmlformats.org/officeDocument/2006/relationships/tags" Target="../tags/tag111.xml"/><Relationship Id="rId15" Type="http://schemas.openxmlformats.org/officeDocument/2006/relationships/oleObject" Target="../embeddings/oleObject20.bin"/><Relationship Id="rId10" Type="http://schemas.openxmlformats.org/officeDocument/2006/relationships/tags" Target="../tags/tag116.xml"/><Relationship Id="rId19" Type="http://schemas.openxmlformats.org/officeDocument/2006/relationships/image" Target="../media/image44.png"/><Relationship Id="rId4" Type="http://schemas.openxmlformats.org/officeDocument/2006/relationships/tags" Target="../tags/tag110.xml"/><Relationship Id="rId9" Type="http://schemas.openxmlformats.org/officeDocument/2006/relationships/tags" Target="../tags/tag115.xml"/><Relationship Id="rId14"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7.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image" Target="../media/image50.jpeg"/><Relationship Id="rId1" Type="http://schemas.openxmlformats.org/officeDocument/2006/relationships/slideLayout" Target="../slideLayouts/slideLayout3.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png"/></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20.xml"/><Relationship Id="rId1" Type="http://schemas.openxmlformats.org/officeDocument/2006/relationships/vmlDrawing" Target="../drawings/vmlDrawing21.vml"/><Relationship Id="rId6" Type="http://schemas.openxmlformats.org/officeDocument/2006/relationships/image" Target="../media/image57.png"/><Relationship Id="rId5" Type="http://schemas.openxmlformats.org/officeDocument/2006/relationships/image" Target="../media/image56.emf"/><Relationship Id="rId4" Type="http://schemas.openxmlformats.org/officeDocument/2006/relationships/oleObject" Target="../embeddings/oleObject21.bin"/></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59.jpeg"/><Relationship Id="rId2" Type="http://schemas.openxmlformats.org/officeDocument/2006/relationships/tags" Target="../tags/tag121.xml"/><Relationship Id="rId1" Type="http://schemas.openxmlformats.org/officeDocument/2006/relationships/vmlDrawing" Target="../drawings/vmlDrawing22.vml"/><Relationship Id="rId6" Type="http://schemas.openxmlformats.org/officeDocument/2006/relationships/image" Target="../media/image58.emf"/><Relationship Id="rId5" Type="http://schemas.openxmlformats.org/officeDocument/2006/relationships/oleObject" Target="../embeddings/oleObject22.bin"/><Relationship Id="rId4"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8C9EAC56-F249-4CC9-8A8D-9FC98BE9907A}"/>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0" y="0"/>
            <a:ext cx="7676699" cy="6858000"/>
          </a:xfrm>
          <a:prstGeom prst="rect">
            <a:avLst/>
          </a:prstGeom>
        </p:spPr>
      </p:pic>
      <p:grpSp>
        <p:nvGrpSpPr>
          <p:cNvPr id="26" name="Group 25">
            <a:extLst>
              <a:ext uri="{FF2B5EF4-FFF2-40B4-BE49-F238E27FC236}">
                <a16:creationId xmlns:a16="http://schemas.microsoft.com/office/drawing/2014/main" id="{CEEB49E6-B54E-4740-901D-C92F78B8D535}"/>
              </a:ext>
            </a:extLst>
          </p:cNvPr>
          <p:cNvGrpSpPr/>
          <p:nvPr/>
        </p:nvGrpSpPr>
        <p:grpSpPr>
          <a:xfrm>
            <a:off x="264417" y="6212294"/>
            <a:ext cx="6452624" cy="719750"/>
            <a:chOff x="5390426" y="6212294"/>
            <a:chExt cx="6452624" cy="719750"/>
          </a:xfrm>
        </p:grpSpPr>
        <p:sp>
          <p:nvSpPr>
            <p:cNvPr id="27" name="TextBox 26">
              <a:extLst>
                <a:ext uri="{FF2B5EF4-FFF2-40B4-BE49-F238E27FC236}">
                  <a16:creationId xmlns:a16="http://schemas.microsoft.com/office/drawing/2014/main" id="{0D00C847-3091-4021-BB25-B5766C88D461}"/>
                </a:ext>
              </a:extLst>
            </p:cNvPr>
            <p:cNvSpPr txBox="1"/>
            <p:nvPr/>
          </p:nvSpPr>
          <p:spPr>
            <a:xfrm>
              <a:off x="5390426" y="6282784"/>
              <a:ext cx="1457318" cy="92333"/>
            </a:xfrm>
            <a:prstGeom prst="rect">
              <a:avLst/>
            </a:prstGeom>
            <a:noFill/>
            <a:effectLst/>
          </p:spPr>
          <p:txBody>
            <a:bodyPr wrap="square" lIns="0" tIns="0" rIns="0" bIns="0" rtlCol="0">
              <a:spAutoFit/>
            </a:bodyPr>
            <a:lstStyle/>
            <a:p>
              <a:pPr algn="l"/>
              <a:r>
                <a:rPr lang="en-US" sz="600">
                  <a:solidFill>
                    <a:schemeClr val="bg1"/>
                  </a:solidFill>
                  <a:effectLst/>
                </a:rPr>
                <a:t>Part of Liberty Latin America</a:t>
              </a:r>
            </a:p>
          </p:txBody>
        </p:sp>
        <p:pic>
          <p:nvPicPr>
            <p:cNvPr id="28" name="Picture 27">
              <a:extLst>
                <a:ext uri="{FF2B5EF4-FFF2-40B4-BE49-F238E27FC236}">
                  <a16:creationId xmlns:a16="http://schemas.microsoft.com/office/drawing/2014/main" id="{06B7ABF1-3D76-4DEB-83B5-FFEAE86C6FD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0332402" y="6433869"/>
              <a:ext cx="718544" cy="295016"/>
            </a:xfrm>
            <a:prstGeom prst="rect">
              <a:avLst/>
            </a:prstGeom>
          </p:spPr>
        </p:pic>
        <p:pic>
          <p:nvPicPr>
            <p:cNvPr id="29" name="Picture 28">
              <a:extLst>
                <a:ext uri="{FF2B5EF4-FFF2-40B4-BE49-F238E27FC236}">
                  <a16:creationId xmlns:a16="http://schemas.microsoft.com/office/drawing/2014/main" id="{3D3E1A83-F621-467E-BB4C-2FEC79FDA9DD}"/>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377959" y="6402702"/>
              <a:ext cx="465091" cy="320407"/>
            </a:xfrm>
            <a:prstGeom prst="rect">
              <a:avLst/>
            </a:prstGeom>
          </p:spPr>
        </p:pic>
        <p:pic>
          <p:nvPicPr>
            <p:cNvPr id="30" name="Picture 29">
              <a:extLst>
                <a:ext uri="{FF2B5EF4-FFF2-40B4-BE49-F238E27FC236}">
                  <a16:creationId xmlns:a16="http://schemas.microsoft.com/office/drawing/2014/main" id="{90D7BA32-AB8E-460B-B09F-B8BCC9A090C1}"/>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5394695" y="6457360"/>
              <a:ext cx="1186126" cy="248034"/>
            </a:xfrm>
            <a:prstGeom prst="rect">
              <a:avLst/>
            </a:prstGeom>
          </p:spPr>
        </p:pic>
        <p:pic>
          <p:nvPicPr>
            <p:cNvPr id="31" name="Picture 30">
              <a:extLst>
                <a:ext uri="{FF2B5EF4-FFF2-40B4-BE49-F238E27FC236}">
                  <a16:creationId xmlns:a16="http://schemas.microsoft.com/office/drawing/2014/main" id="{FB37489C-29F2-4D3B-92B6-C9BC924A2987}"/>
                </a:ext>
              </a:extLst>
            </p:cNvPr>
            <p:cNvPicPr>
              <a:picLocks noChangeAspect="1"/>
            </p:cNvPicPr>
            <p:nvPr/>
          </p:nvPicPr>
          <p:blipFill>
            <a:blip r:embed="rId9">
              <a:biLevel thresh="50000"/>
              <a:extLst>
                <a:ext uri="{28A0092B-C50C-407E-A947-70E740481C1C}">
                  <a14:useLocalDpi xmlns:a14="http://schemas.microsoft.com/office/drawing/2010/main"/>
                </a:ext>
              </a:extLst>
            </a:blip>
            <a:stretch>
              <a:fillRect/>
            </a:stretch>
          </p:blipFill>
          <p:spPr>
            <a:xfrm>
              <a:off x="7936070" y="6249182"/>
              <a:ext cx="682862" cy="682862"/>
            </a:xfrm>
            <a:prstGeom prst="rect">
              <a:avLst/>
            </a:prstGeom>
          </p:spPr>
        </p:pic>
        <p:pic>
          <p:nvPicPr>
            <p:cNvPr id="32" name="Picture 31">
              <a:extLst>
                <a:ext uri="{FF2B5EF4-FFF2-40B4-BE49-F238E27FC236}">
                  <a16:creationId xmlns:a16="http://schemas.microsoft.com/office/drawing/2014/main" id="{0E042072-9839-4503-BC5B-7A46F017F09C}"/>
                </a:ext>
              </a:extLst>
            </p:cNvPr>
            <p:cNvPicPr>
              <a:picLocks noChangeAspect="1"/>
            </p:cNvPicPr>
            <p:nvPr/>
          </p:nvPicPr>
          <p:blipFill>
            <a:blip r:embed="rId10">
              <a:biLevel thresh="25000"/>
              <a:extLst>
                <a:ext uri="{28A0092B-C50C-407E-A947-70E740481C1C}">
                  <a14:useLocalDpi xmlns:a14="http://schemas.microsoft.com/office/drawing/2010/main"/>
                </a:ext>
              </a:extLst>
            </a:blip>
            <a:stretch>
              <a:fillRect/>
            </a:stretch>
          </p:blipFill>
          <p:spPr>
            <a:xfrm>
              <a:off x="6907834" y="6212294"/>
              <a:ext cx="701223" cy="701223"/>
            </a:xfrm>
            <a:prstGeom prst="rect">
              <a:avLst/>
            </a:prstGeom>
          </p:spPr>
        </p:pic>
        <p:pic>
          <p:nvPicPr>
            <p:cNvPr id="33" name="Picture 32">
              <a:extLst>
                <a:ext uri="{FF2B5EF4-FFF2-40B4-BE49-F238E27FC236}">
                  <a16:creationId xmlns:a16="http://schemas.microsoft.com/office/drawing/2014/main" id="{8514D9FE-A90C-4F32-A226-2B5AAE25D3C1}"/>
                </a:ext>
              </a:extLst>
            </p:cNvPr>
            <p:cNvPicPr>
              <a:picLocks noChangeAspect="1"/>
            </p:cNvPicPr>
            <p:nvPr/>
          </p:nvPicPr>
          <p:blipFill>
            <a:blip r:embed="rId11">
              <a:biLevel thresh="25000"/>
            </a:blip>
            <a:stretch>
              <a:fillRect/>
            </a:stretch>
          </p:blipFill>
          <p:spPr>
            <a:xfrm>
              <a:off x="8945945" y="6483718"/>
              <a:ext cx="1059444" cy="250735"/>
            </a:xfrm>
            <a:prstGeom prst="rect">
              <a:avLst/>
            </a:prstGeom>
          </p:spPr>
        </p:pic>
      </p:grpSp>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12" imgW="592" imgH="595" progId="TCLayout.ActiveDocument.1">
                  <p:embed/>
                </p:oleObj>
              </mc:Choice>
              <mc:Fallback>
                <p:oleObj name="think-cell Slide" r:id="rId12" imgW="592" imgH="595" progId="TCLayout.ActiveDocument.1">
                  <p:embed/>
                  <p:pic>
                    <p:nvPicPr>
                      <p:cNvPr id="2" name="Object 1"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119242B3-3435-47B1-9889-6143762367FE}"/>
              </a:ext>
            </a:extLst>
          </p:cNvPr>
          <p:cNvSpPr/>
          <p:nvPr/>
        </p:nvSpPr>
        <p:spPr>
          <a:xfrm>
            <a:off x="6988693" y="0"/>
            <a:ext cx="52033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39B41E3D-AB57-4548-8F48-80E8188A4F77}"/>
              </a:ext>
            </a:extLst>
          </p:cNvPr>
          <p:cNvSpPr/>
          <p:nvPr/>
        </p:nvSpPr>
        <p:spPr>
          <a:xfrm>
            <a:off x="7623539" y="-5762"/>
            <a:ext cx="4568461" cy="68637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Title 1"/>
          <p:cNvSpPr txBox="1">
            <a:spLocks/>
          </p:cNvSpPr>
          <p:nvPr/>
        </p:nvSpPr>
        <p:spPr>
          <a:xfrm>
            <a:off x="8514323" y="2690404"/>
            <a:ext cx="3565897" cy="936886"/>
          </a:xfrm>
          <a:prstGeom prst="rect">
            <a:avLst/>
          </a:prstGeom>
        </p:spPr>
        <p:txBody>
          <a:bodyPr>
            <a:noAutofit/>
          </a:bodyPr>
          <a:lstStyle>
            <a:lvl1pPr algn="l" defTabSz="685800" rtl="0" eaLnBrk="1" latinLnBrk="0" hangingPunct="1">
              <a:lnSpc>
                <a:spcPct val="90000"/>
              </a:lnSpc>
              <a:spcBef>
                <a:spcPct val="0"/>
              </a:spcBef>
              <a:buNone/>
              <a:defRPr sz="1400" kern="1200">
                <a:solidFill>
                  <a:schemeClr val="tx1"/>
                </a:solidFill>
                <a:latin typeface="+mj-lt"/>
                <a:ea typeface="+mj-ea"/>
                <a:cs typeface="+mj-cs"/>
              </a:defRPr>
            </a:lvl1pPr>
          </a:lstStyle>
          <a:p>
            <a:pPr>
              <a:lnSpc>
                <a:spcPts val="5000"/>
              </a:lnSpc>
            </a:pPr>
            <a:r>
              <a:rPr lang="en-US" sz="3800" b="1">
                <a:solidFill>
                  <a:schemeClr val="tx2">
                    <a:lumMod val="75000"/>
                  </a:schemeClr>
                </a:solidFill>
              </a:rPr>
              <a:t>LIBERTY            LATIN AMERICA</a:t>
            </a:r>
          </a:p>
        </p:txBody>
      </p:sp>
      <p:grpSp>
        <p:nvGrpSpPr>
          <p:cNvPr id="16" name="Group 15">
            <a:extLst>
              <a:ext uri="{FF2B5EF4-FFF2-40B4-BE49-F238E27FC236}">
                <a16:creationId xmlns:a16="http://schemas.microsoft.com/office/drawing/2014/main" id="{F557898B-1E0A-43D0-9845-9A310B47E05F}"/>
              </a:ext>
            </a:extLst>
          </p:cNvPr>
          <p:cNvGrpSpPr/>
          <p:nvPr/>
        </p:nvGrpSpPr>
        <p:grpSpPr>
          <a:xfrm>
            <a:off x="6891415" y="0"/>
            <a:ext cx="1224155" cy="6858000"/>
            <a:chOff x="6470882" y="0"/>
            <a:chExt cx="1224155" cy="6858000"/>
          </a:xfrm>
        </p:grpSpPr>
        <p:sp>
          <p:nvSpPr>
            <p:cNvPr id="17" name="Rectangle 16">
              <a:extLst>
                <a:ext uri="{FF2B5EF4-FFF2-40B4-BE49-F238E27FC236}">
                  <a16:creationId xmlns:a16="http://schemas.microsoft.com/office/drawing/2014/main" id="{03A9A002-E1B8-45A4-87C2-6E413CD326CF}"/>
                </a:ext>
              </a:extLst>
            </p:cNvPr>
            <p:cNvSpPr/>
            <p:nvPr/>
          </p:nvSpPr>
          <p:spPr>
            <a:xfrm>
              <a:off x="7120240" y="0"/>
              <a:ext cx="437745"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731845EF-74FF-44E1-BFB1-890DD43EAE33}"/>
                </a:ext>
              </a:extLst>
            </p:cNvPr>
            <p:cNvSpPr/>
            <p:nvPr/>
          </p:nvSpPr>
          <p:spPr>
            <a:xfrm>
              <a:off x="7490846" y="0"/>
              <a:ext cx="204191"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7EA11412-25D1-48CE-A106-9913100A104E}"/>
                </a:ext>
              </a:extLst>
            </p:cNvPr>
            <p:cNvSpPr/>
            <p:nvPr/>
          </p:nvSpPr>
          <p:spPr>
            <a:xfrm>
              <a:off x="6859325" y="0"/>
              <a:ext cx="204282"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2A3138D4-C051-4F87-B229-AA9A9848C21A}"/>
                </a:ext>
              </a:extLst>
            </p:cNvPr>
            <p:cNvSpPr/>
            <p:nvPr/>
          </p:nvSpPr>
          <p:spPr>
            <a:xfrm>
              <a:off x="6558632" y="0"/>
              <a:ext cx="321012"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0F04D6DB-B6F3-4C65-8C45-A9EC653BEC11}"/>
                </a:ext>
              </a:extLst>
            </p:cNvPr>
            <p:cNvSpPr/>
            <p:nvPr/>
          </p:nvSpPr>
          <p:spPr>
            <a:xfrm>
              <a:off x="6470882" y="0"/>
              <a:ext cx="9727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C7A1F1CD-7CF6-4890-A4E1-2413BC119597}"/>
                </a:ext>
              </a:extLst>
            </p:cNvPr>
            <p:cNvSpPr/>
            <p:nvPr/>
          </p:nvSpPr>
          <p:spPr>
            <a:xfrm>
              <a:off x="7032486" y="0"/>
              <a:ext cx="97279" cy="6858000"/>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52E2E33-A681-4B10-816B-04714D32A03A}"/>
                </a:ext>
              </a:extLst>
            </p:cNvPr>
            <p:cNvSpPr/>
            <p:nvPr/>
          </p:nvSpPr>
          <p:spPr>
            <a:xfrm>
              <a:off x="7410396" y="0"/>
              <a:ext cx="116732"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5" name="Slide Number Placeholder 4">
            <a:extLst>
              <a:ext uri="{FF2B5EF4-FFF2-40B4-BE49-F238E27FC236}">
                <a16:creationId xmlns:a16="http://schemas.microsoft.com/office/drawing/2014/main" id="{D2FA7CA6-990E-4E38-B7A5-1F9877045C4C}"/>
              </a:ext>
            </a:extLst>
          </p:cNvPr>
          <p:cNvSpPr>
            <a:spLocks noGrp="1"/>
          </p:cNvSpPr>
          <p:nvPr>
            <p:ph type="sldNum" sz="quarter" idx="4"/>
          </p:nvPr>
        </p:nvSpPr>
        <p:spPr/>
        <p:txBody>
          <a:bodyPr/>
          <a:lstStyle/>
          <a:p>
            <a:fld id="{496097A3-845D-4C79-9B10-713A18711759}" type="slidenum">
              <a:rPr lang="en-US" smtClean="0"/>
              <a:pPr/>
              <a:t>1</a:t>
            </a:fld>
            <a:endParaRPr lang="en-US"/>
          </a:p>
        </p:txBody>
      </p:sp>
    </p:spTree>
    <p:extLst>
      <p:ext uri="{BB962C8B-B14F-4D97-AF65-F5344CB8AC3E}">
        <p14:creationId xmlns:p14="http://schemas.microsoft.com/office/powerpoint/2010/main" val="377620643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9DA093-BC64-CAD8-2915-599DB72F0F2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3553"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9DA093-BC64-CAD8-2915-599DB72F0F2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sp>
        <p:nvSpPr>
          <p:cNvPr id="24" name="TextBox 23">
            <a:extLst>
              <a:ext uri="{FF2B5EF4-FFF2-40B4-BE49-F238E27FC236}">
                <a16:creationId xmlns:a16="http://schemas.microsoft.com/office/drawing/2014/main" id="{299544AA-D597-C34F-AD45-354CC551B3BA}"/>
              </a:ext>
            </a:extLst>
          </p:cNvPr>
          <p:cNvSpPr txBox="1"/>
          <p:nvPr/>
        </p:nvSpPr>
        <p:spPr>
          <a:xfrm>
            <a:off x="373227" y="5120879"/>
            <a:ext cx="1868099" cy="784830"/>
          </a:xfrm>
          <a:prstGeom prst="rect">
            <a:avLst/>
          </a:prstGeom>
          <a:noFill/>
        </p:spPr>
        <p:txBody>
          <a:bodyPr wrap="square" rtlCol="0" anchor="t">
            <a:spAutoFit/>
          </a:bodyPr>
          <a:lstStyle/>
          <a:p>
            <a:pPr algn="ctr">
              <a:lnSpc>
                <a:spcPts val="1750"/>
              </a:lnSpc>
              <a:spcBef>
                <a:spcPts val="900"/>
              </a:spcBef>
            </a:pPr>
            <a:r>
              <a:rPr lang="en-US" sz="1600" b="1" dirty="0">
                <a:latin typeface="Lato Light" panose="020F0502020204030203" pitchFamily="34" charset="0"/>
                <a:ea typeface="Lato Light" panose="020F0502020204030203" pitchFamily="34" charset="0"/>
                <a:cs typeface="Lato Light" panose="020F0502020204030203" pitchFamily="34" charset="0"/>
              </a:rPr>
              <a:t>From a single connected device per household</a:t>
            </a:r>
          </a:p>
        </p:txBody>
      </p:sp>
      <p:sp>
        <p:nvSpPr>
          <p:cNvPr id="49" name="Title 1">
            <a:extLst>
              <a:ext uri="{FF2B5EF4-FFF2-40B4-BE49-F238E27FC236}">
                <a16:creationId xmlns:a16="http://schemas.microsoft.com/office/drawing/2014/main" id="{20034B4C-4CF0-D993-14A6-D0980BD397EE}"/>
              </a:ext>
            </a:extLst>
          </p:cNvPr>
          <p:cNvSpPr txBox="1">
            <a:spLocks/>
          </p:cNvSpPr>
          <p:nvPr/>
        </p:nvSpPr>
        <p:spPr>
          <a:xfrm>
            <a:off x="7618" y="6412"/>
            <a:ext cx="90855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Connected Devices and Services Driving Consumption</a:t>
            </a:r>
          </a:p>
        </p:txBody>
      </p:sp>
      <p:sp>
        <p:nvSpPr>
          <p:cNvPr id="111" name="TextBox 110">
            <a:extLst>
              <a:ext uri="{FF2B5EF4-FFF2-40B4-BE49-F238E27FC236}">
                <a16:creationId xmlns:a16="http://schemas.microsoft.com/office/drawing/2014/main" id="{BCAD687F-9220-65B8-0A14-47B12B563D9E}"/>
              </a:ext>
            </a:extLst>
          </p:cNvPr>
          <p:cNvSpPr txBox="1"/>
          <p:nvPr/>
        </p:nvSpPr>
        <p:spPr>
          <a:xfrm>
            <a:off x="9321800" y="3407144"/>
            <a:ext cx="2096699" cy="1015663"/>
          </a:xfrm>
          <a:prstGeom prst="rect">
            <a:avLst/>
          </a:prstGeom>
          <a:noFill/>
        </p:spPr>
        <p:txBody>
          <a:bodyPr wrap="square" rtlCol="0" anchor="t">
            <a:spAutoFit/>
          </a:bodyPr>
          <a:lstStyle/>
          <a:p>
            <a:pPr algn="ctr">
              <a:lnSpc>
                <a:spcPts val="1750"/>
              </a:lnSpc>
              <a:spcBef>
                <a:spcPts val="900"/>
              </a:spcBef>
            </a:pPr>
            <a:r>
              <a:rPr lang="en-US" sz="1600" b="1" dirty="0">
                <a:latin typeface="Lato Light" panose="020F0502020204030203" pitchFamily="34" charset="0"/>
                <a:ea typeface="Lato Light" panose="020F0502020204030203" pitchFamily="34" charset="0"/>
                <a:cs typeface="Lato Light" panose="020F0502020204030203" pitchFamily="34" charset="0"/>
              </a:rPr>
              <a:t>Plus, multiple Smart Home devices connected per household</a:t>
            </a:r>
          </a:p>
        </p:txBody>
      </p:sp>
      <p:pic>
        <p:nvPicPr>
          <p:cNvPr id="2" name="Picture 1">
            <a:extLst>
              <a:ext uri="{FF2B5EF4-FFF2-40B4-BE49-F238E27FC236}">
                <a16:creationId xmlns:a16="http://schemas.microsoft.com/office/drawing/2014/main" id="{8DC7B1A8-821B-7B18-62F7-87BEBB5D849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0259" y="2699593"/>
            <a:ext cx="2922034" cy="2387600"/>
          </a:xfrm>
          <a:prstGeom prst="rect">
            <a:avLst/>
          </a:prstGeom>
        </p:spPr>
      </p:pic>
      <p:pic>
        <p:nvPicPr>
          <p:cNvPr id="3" name="Picture 2">
            <a:extLst>
              <a:ext uri="{FF2B5EF4-FFF2-40B4-BE49-F238E27FC236}">
                <a16:creationId xmlns:a16="http://schemas.microsoft.com/office/drawing/2014/main" id="{B7F555D6-8185-5E16-21DE-2E11E973126E}"/>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68301" y="2548325"/>
            <a:ext cx="3652010" cy="2515829"/>
          </a:xfrm>
          <a:prstGeom prst="rect">
            <a:avLst/>
          </a:prstGeom>
        </p:spPr>
      </p:pic>
      <p:pic>
        <p:nvPicPr>
          <p:cNvPr id="6" name="Picture 5" descr="A picture containing text, indoor, electronics, computer&#10;&#10;Description automatically generated">
            <a:extLst>
              <a:ext uri="{FF2B5EF4-FFF2-40B4-BE49-F238E27FC236}">
                <a16:creationId xmlns:a16="http://schemas.microsoft.com/office/drawing/2014/main" id="{937CA482-A00A-A0B1-C5DB-0AB0AFC90E6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84435" y="1433317"/>
            <a:ext cx="3907565" cy="1953783"/>
          </a:xfrm>
          <a:prstGeom prst="rect">
            <a:avLst/>
          </a:prstGeom>
        </p:spPr>
      </p:pic>
      <p:pic>
        <p:nvPicPr>
          <p:cNvPr id="9" name="Picture 8">
            <a:extLst>
              <a:ext uri="{FF2B5EF4-FFF2-40B4-BE49-F238E27FC236}">
                <a16:creationId xmlns:a16="http://schemas.microsoft.com/office/drawing/2014/main" id="{FA152D77-D68E-B099-F57D-CCE8A925649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089401" y="793423"/>
            <a:ext cx="3009811" cy="1698176"/>
          </a:xfrm>
          <a:prstGeom prst="rect">
            <a:avLst/>
          </a:prstGeom>
        </p:spPr>
      </p:pic>
      <p:sp>
        <p:nvSpPr>
          <p:cNvPr id="110" name="TextBox 109">
            <a:extLst>
              <a:ext uri="{FF2B5EF4-FFF2-40B4-BE49-F238E27FC236}">
                <a16:creationId xmlns:a16="http://schemas.microsoft.com/office/drawing/2014/main" id="{3871237F-F1FE-644C-C799-9404C9351ED3}"/>
              </a:ext>
            </a:extLst>
          </p:cNvPr>
          <p:cNvSpPr txBox="1"/>
          <p:nvPr/>
        </p:nvSpPr>
        <p:spPr>
          <a:xfrm>
            <a:off x="4793510" y="4497632"/>
            <a:ext cx="1962890" cy="1246495"/>
          </a:xfrm>
          <a:prstGeom prst="rect">
            <a:avLst/>
          </a:prstGeom>
          <a:noFill/>
        </p:spPr>
        <p:txBody>
          <a:bodyPr wrap="square" rtlCol="0" anchor="t">
            <a:spAutoFit/>
          </a:bodyPr>
          <a:lstStyle/>
          <a:p>
            <a:pPr algn="ctr">
              <a:lnSpc>
                <a:spcPts val="1750"/>
              </a:lnSpc>
              <a:spcBef>
                <a:spcPts val="900"/>
              </a:spcBef>
            </a:pPr>
            <a:r>
              <a:rPr lang="en-US" sz="1600" b="1" dirty="0">
                <a:latin typeface="Lato Light" panose="020F0502020204030203" pitchFamily="34" charset="0"/>
                <a:ea typeface="Lato Light" panose="020F0502020204030203" pitchFamily="34" charset="0"/>
                <a:cs typeface="Lato Light" panose="020F0502020204030203" pitchFamily="34" charset="0"/>
              </a:rPr>
              <a:t>To multiple connected devices with streaming video per person per household</a:t>
            </a:r>
          </a:p>
        </p:txBody>
      </p:sp>
      <p:sp>
        <p:nvSpPr>
          <p:cNvPr id="16" name="TextBox 15">
            <a:extLst>
              <a:ext uri="{FF2B5EF4-FFF2-40B4-BE49-F238E27FC236}">
                <a16:creationId xmlns:a16="http://schemas.microsoft.com/office/drawing/2014/main" id="{D71B797D-5919-7AEE-A1CC-45F31D839EA0}"/>
              </a:ext>
            </a:extLst>
          </p:cNvPr>
          <p:cNvSpPr txBox="1"/>
          <p:nvPr/>
        </p:nvSpPr>
        <p:spPr>
          <a:xfrm>
            <a:off x="0" y="6015595"/>
            <a:ext cx="12191999" cy="861774"/>
          </a:xfrm>
          <a:prstGeom prst="rect">
            <a:avLst/>
          </a:prstGeom>
          <a:solidFill>
            <a:schemeClr val="accent4"/>
          </a:solidFill>
          <a:ln>
            <a:solidFill>
              <a:srgbClr val="0070C0"/>
            </a:solidFill>
          </a:ln>
        </p:spPr>
        <p:txBody>
          <a:bodyPr wrap="square" lIns="0" tIns="0" rIns="0" bIns="0" rtlCol="0">
            <a:spAutoFit/>
          </a:bodyPr>
          <a:lstStyle/>
          <a:p>
            <a:pPr algn="ctr"/>
            <a:r>
              <a:rPr lang="en-US" sz="2800" dirty="0">
                <a:solidFill>
                  <a:schemeClr val="bg1"/>
                </a:solidFill>
              </a:rPr>
              <a:t>Average of 16 connected devices per home in 2022 vs 13 in 2021, expected to grow 70% by 2025</a:t>
            </a:r>
          </a:p>
        </p:txBody>
      </p:sp>
      <p:pic>
        <p:nvPicPr>
          <p:cNvPr id="4106" name="Picture 10" descr="Image result for netflix logo">
            <a:extLst>
              <a:ext uri="{FF2B5EF4-FFF2-40B4-BE49-F238E27FC236}">
                <a16:creationId xmlns:a16="http://schemas.microsoft.com/office/drawing/2014/main" id="{1AB7C1E6-069E-12B1-EBA6-9B889C23591C}"/>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7271352" y="1113959"/>
            <a:ext cx="583862" cy="389242"/>
          </a:xfrm>
          <a:prstGeom prst="rect">
            <a:avLst/>
          </a:prstGeom>
          <a:noFill/>
          <a:extLst>
            <a:ext uri="{909E8E84-426E-40DD-AFC4-6F175D3DCCD1}">
              <a14:hiddenFill xmlns:a14="http://schemas.microsoft.com/office/drawing/2010/main">
                <a:solidFill>
                  <a:srgbClr val="FFFFFF"/>
                </a:solidFill>
              </a14:hiddenFill>
            </a:ext>
          </a:extLst>
        </p:spPr>
      </p:pic>
      <p:pic>
        <p:nvPicPr>
          <p:cNvPr id="4108" name="Picture 12" descr="Image result for amazon prime logo">
            <a:extLst>
              <a:ext uri="{FF2B5EF4-FFF2-40B4-BE49-F238E27FC236}">
                <a16:creationId xmlns:a16="http://schemas.microsoft.com/office/drawing/2014/main" id="{3155A9CF-F3F0-36DD-D1C2-524DE424D5D0}"/>
              </a:ext>
            </a:extLst>
          </p:cNvPr>
          <p:cNvPicPr>
            <a:picLocks noChangeAspect="1" noChangeArrowheads="1"/>
          </p:cNvPicPr>
          <p:nvPr/>
        </p:nvPicPr>
        <p:blipFill>
          <a:blip r:embed="rId11" cstate="email">
            <a:extLst>
              <a:ext uri="{28A0092B-C50C-407E-A947-70E740481C1C}">
                <a14:useLocalDpi xmlns:a14="http://schemas.microsoft.com/office/drawing/2010/main"/>
              </a:ext>
            </a:extLst>
          </a:blip>
          <a:srcRect/>
          <a:stretch>
            <a:fillRect/>
          </a:stretch>
        </p:blipFill>
        <p:spPr bwMode="auto">
          <a:xfrm>
            <a:off x="7248588" y="1638844"/>
            <a:ext cx="866712" cy="866712"/>
          </a:xfrm>
          <a:prstGeom prst="rect">
            <a:avLst/>
          </a:prstGeom>
          <a:noFill/>
          <a:extLst>
            <a:ext uri="{909E8E84-426E-40DD-AFC4-6F175D3DCCD1}">
              <a14:hiddenFill xmlns:a14="http://schemas.microsoft.com/office/drawing/2010/main">
                <a:solidFill>
                  <a:srgbClr val="FFFFFF"/>
                </a:solidFill>
              </a14:hiddenFill>
            </a:ext>
          </a:extLst>
        </p:spPr>
      </p:pic>
      <p:pic>
        <p:nvPicPr>
          <p:cNvPr id="4110" name="Picture 14" descr="Image result for youtube logo">
            <a:extLst>
              <a:ext uri="{FF2B5EF4-FFF2-40B4-BE49-F238E27FC236}">
                <a16:creationId xmlns:a16="http://schemas.microsoft.com/office/drawing/2014/main" id="{D623BC31-9259-38D6-95BE-5B372614E78F}"/>
              </a:ext>
            </a:extLst>
          </p:cNvPr>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7963336" y="1244352"/>
            <a:ext cx="698209" cy="698209"/>
          </a:xfrm>
          <a:prstGeom prst="rect">
            <a:avLst/>
          </a:prstGeom>
          <a:noFill/>
          <a:extLst>
            <a:ext uri="{909E8E84-426E-40DD-AFC4-6F175D3DCCD1}">
              <a14:hiddenFill xmlns:a14="http://schemas.microsoft.com/office/drawing/2010/main">
                <a:solidFill>
                  <a:srgbClr val="FFFFFF"/>
                </a:solidFill>
              </a14:hiddenFill>
            </a:ext>
          </a:extLst>
        </p:spPr>
      </p:pic>
      <p:pic>
        <p:nvPicPr>
          <p:cNvPr id="4112" name="Picture 16" descr="Image result for disney plus logo">
            <a:extLst>
              <a:ext uri="{FF2B5EF4-FFF2-40B4-BE49-F238E27FC236}">
                <a16:creationId xmlns:a16="http://schemas.microsoft.com/office/drawing/2014/main" id="{F279135F-14E8-9D7D-DE63-5BF075004CF7}"/>
              </a:ext>
            </a:extLst>
          </p:cNvPr>
          <p:cNvPicPr>
            <a:picLocks noChangeAspect="1" noChangeArrowheads="1"/>
          </p:cNvPicPr>
          <p:nvPr/>
        </p:nvPicPr>
        <p:blipFill>
          <a:blip r:embed="rId13" cstate="email">
            <a:extLst>
              <a:ext uri="{28A0092B-C50C-407E-A947-70E740481C1C}">
                <a14:useLocalDpi xmlns:a14="http://schemas.microsoft.com/office/drawing/2010/main"/>
              </a:ext>
            </a:extLst>
          </a:blip>
          <a:srcRect/>
          <a:stretch>
            <a:fillRect/>
          </a:stretch>
        </p:blipFill>
        <p:spPr bwMode="auto">
          <a:xfrm>
            <a:off x="8312440" y="909818"/>
            <a:ext cx="806099" cy="537399"/>
          </a:xfrm>
          <a:prstGeom prst="rect">
            <a:avLst/>
          </a:prstGeom>
          <a:noFill/>
          <a:extLst>
            <a:ext uri="{909E8E84-426E-40DD-AFC4-6F175D3DCCD1}">
              <a14:hiddenFill xmlns:a14="http://schemas.microsoft.com/office/drawing/2010/main">
                <a:solidFill>
                  <a:srgbClr val="FFFFFF"/>
                </a:solidFill>
              </a14:hiddenFill>
            </a:ext>
          </a:extLst>
        </p:spPr>
      </p:pic>
      <p:pic>
        <p:nvPicPr>
          <p:cNvPr id="4116" name="Picture 20">
            <a:extLst>
              <a:ext uri="{FF2B5EF4-FFF2-40B4-BE49-F238E27FC236}">
                <a16:creationId xmlns:a16="http://schemas.microsoft.com/office/drawing/2014/main" id="{ED061F7E-444F-73F1-40C7-4CF4845DD044}"/>
              </a:ext>
            </a:extLst>
          </p:cNvPr>
          <p:cNvPicPr>
            <a:picLocks noChangeAspect="1" noChangeArrowheads="1"/>
          </p:cNvPicPr>
          <p:nvPr/>
        </p:nvPicPr>
        <p:blipFill>
          <a:blip r:embed="rId14" cstate="email">
            <a:extLst>
              <a:ext uri="{28A0092B-C50C-407E-A947-70E740481C1C}">
                <a14:useLocalDpi xmlns:a14="http://schemas.microsoft.com/office/drawing/2010/main"/>
              </a:ext>
            </a:extLst>
          </a:blip>
          <a:srcRect/>
          <a:stretch>
            <a:fillRect/>
          </a:stretch>
        </p:blipFill>
        <p:spPr bwMode="auto">
          <a:xfrm>
            <a:off x="11418499" y="731128"/>
            <a:ext cx="546100" cy="546100"/>
          </a:xfrm>
          <a:prstGeom prst="rect">
            <a:avLst/>
          </a:prstGeom>
          <a:noFill/>
          <a:extLst>
            <a:ext uri="{909E8E84-426E-40DD-AFC4-6F175D3DCCD1}">
              <a14:hiddenFill xmlns:a14="http://schemas.microsoft.com/office/drawing/2010/main">
                <a:solidFill>
                  <a:srgbClr val="FFFFFF"/>
                </a:solidFill>
              </a14:hiddenFill>
            </a:ext>
          </a:extLst>
        </p:spPr>
      </p:pic>
      <p:pic>
        <p:nvPicPr>
          <p:cNvPr id="4118" name="Picture 22" descr="Hulu Logo | significado del logotipo, png, vector">
            <a:extLst>
              <a:ext uri="{FF2B5EF4-FFF2-40B4-BE49-F238E27FC236}">
                <a16:creationId xmlns:a16="http://schemas.microsoft.com/office/drawing/2014/main" id="{40B8EFB3-B5D9-6739-00D4-B941D2F17C48}"/>
              </a:ext>
            </a:extLst>
          </p:cNvPr>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9023134" y="1265558"/>
            <a:ext cx="755650" cy="475285"/>
          </a:xfrm>
          <a:prstGeom prst="rect">
            <a:avLst/>
          </a:prstGeom>
          <a:noFill/>
          <a:extLst>
            <a:ext uri="{909E8E84-426E-40DD-AFC4-6F175D3DCCD1}">
              <a14:hiddenFill xmlns:a14="http://schemas.microsoft.com/office/drawing/2010/main">
                <a:solidFill>
                  <a:srgbClr val="FFFFFF"/>
                </a:solidFill>
              </a14:hiddenFill>
            </a:ext>
          </a:extLst>
        </p:spPr>
      </p:pic>
      <p:pic>
        <p:nvPicPr>
          <p:cNvPr id="4120" name="Picture 24" descr="Amazon Alexa Official Site: What is Alexa?">
            <a:extLst>
              <a:ext uri="{FF2B5EF4-FFF2-40B4-BE49-F238E27FC236}">
                <a16:creationId xmlns:a16="http://schemas.microsoft.com/office/drawing/2014/main" id="{B1F6C961-640D-F540-A8E8-C53E175E8B48}"/>
              </a:ext>
            </a:extLst>
          </p:cNvPr>
          <p:cNvPicPr>
            <a:picLocks noChangeAspect="1" noChangeArrowheads="1"/>
          </p:cNvPicPr>
          <p:nvPr/>
        </p:nvPicPr>
        <p:blipFill>
          <a:blip r:embed="rId16" cstate="email">
            <a:extLst>
              <a:ext uri="{28A0092B-C50C-407E-A947-70E740481C1C}">
                <a14:useLocalDpi xmlns:a14="http://schemas.microsoft.com/office/drawing/2010/main"/>
              </a:ext>
            </a:extLst>
          </a:blip>
          <a:srcRect/>
          <a:stretch>
            <a:fillRect/>
          </a:stretch>
        </p:blipFill>
        <p:spPr bwMode="auto">
          <a:xfrm>
            <a:off x="10202634" y="850434"/>
            <a:ext cx="792015" cy="527050"/>
          </a:xfrm>
          <a:prstGeom prst="rect">
            <a:avLst/>
          </a:prstGeom>
          <a:noFill/>
          <a:extLst>
            <a:ext uri="{909E8E84-426E-40DD-AFC4-6F175D3DCCD1}">
              <a14:hiddenFill xmlns:a14="http://schemas.microsoft.com/office/drawing/2010/main">
                <a:solidFill>
                  <a:srgbClr val="FFFFFF"/>
                </a:solidFill>
              </a14:hiddenFill>
            </a:ext>
          </a:extLst>
        </p:spPr>
      </p:pic>
      <p:pic>
        <p:nvPicPr>
          <p:cNvPr id="4122" name="Picture 26" descr="Apple logo and symbol, meaning, history, PNG">
            <a:extLst>
              <a:ext uri="{FF2B5EF4-FFF2-40B4-BE49-F238E27FC236}">
                <a16:creationId xmlns:a16="http://schemas.microsoft.com/office/drawing/2014/main" id="{62F59235-E0E8-6DBD-5589-27A543AA5414}"/>
              </a:ext>
            </a:extLst>
          </p:cNvPr>
          <p:cNvPicPr>
            <a:picLocks noChangeAspect="1" noChangeArrowheads="1"/>
          </p:cNvPicPr>
          <p:nvPr/>
        </p:nvPicPr>
        <p:blipFill>
          <a:blip r:embed="rId17" cstate="email">
            <a:extLst>
              <a:ext uri="{28A0092B-C50C-407E-A947-70E740481C1C}">
                <a14:useLocalDpi xmlns:a14="http://schemas.microsoft.com/office/drawing/2010/main"/>
              </a:ext>
            </a:extLst>
          </a:blip>
          <a:srcRect/>
          <a:stretch>
            <a:fillRect/>
          </a:stretch>
        </p:blipFill>
        <p:spPr bwMode="auto">
          <a:xfrm>
            <a:off x="9477540" y="900774"/>
            <a:ext cx="602488" cy="3373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4744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9DA093-BC64-CAD8-2915-599DB72F0F2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4577"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9DA093-BC64-CAD8-2915-599DB72F0F2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1" name="Picture 50">
            <a:extLst>
              <a:ext uri="{FF2B5EF4-FFF2-40B4-BE49-F238E27FC236}">
                <a16:creationId xmlns:a16="http://schemas.microsoft.com/office/drawing/2014/main" id="{62A0CCA8-D05F-74EA-1652-3C97C69604DD}"/>
              </a:ext>
            </a:extLst>
          </p:cNvPr>
          <p:cNvPicPr>
            <a:picLocks noChangeAspect="1"/>
          </p:cNvPicPr>
          <p:nvPr/>
        </p:nvPicPr>
        <p:blipFill>
          <a:blip r:embed="rId6">
            <a:alphaModFix amt="11000"/>
          </a:blip>
          <a:stretch>
            <a:fillRect/>
          </a:stretch>
        </p:blipFill>
        <p:spPr>
          <a:xfrm>
            <a:off x="-1" y="0"/>
            <a:ext cx="12192001" cy="6858000"/>
          </a:xfrm>
          <a:prstGeom prst="rect">
            <a:avLst/>
          </a:prstGeom>
        </p:spPr>
      </p:pic>
      <p:sp>
        <p:nvSpPr>
          <p:cNvPr id="14" name="Shape 53">
            <a:extLst>
              <a:ext uri="{FF2B5EF4-FFF2-40B4-BE49-F238E27FC236}">
                <a16:creationId xmlns:a16="http://schemas.microsoft.com/office/drawing/2014/main" id="{F1819757-BD36-9C47-9065-991E22DDB693}"/>
              </a:ext>
            </a:extLst>
          </p:cNvPr>
          <p:cNvSpPr/>
          <p:nvPr/>
        </p:nvSpPr>
        <p:spPr>
          <a:xfrm>
            <a:off x="459342" y="2387600"/>
            <a:ext cx="2037141" cy="2045298"/>
          </a:xfrm>
          <a:prstGeom prst="ellipse">
            <a:avLst/>
          </a:prstGeom>
          <a:solidFill>
            <a:schemeClr val="bg2"/>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24" name="TextBox 23">
            <a:extLst>
              <a:ext uri="{FF2B5EF4-FFF2-40B4-BE49-F238E27FC236}">
                <a16:creationId xmlns:a16="http://schemas.microsoft.com/office/drawing/2014/main" id="{299544AA-D597-C34F-AD45-354CC551B3BA}"/>
              </a:ext>
            </a:extLst>
          </p:cNvPr>
          <p:cNvSpPr txBox="1"/>
          <p:nvPr/>
        </p:nvSpPr>
        <p:spPr>
          <a:xfrm>
            <a:off x="650255" y="1199994"/>
            <a:ext cx="1623046" cy="534505"/>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Total Internet Users</a:t>
            </a:r>
          </a:p>
        </p:txBody>
      </p:sp>
      <p:sp>
        <p:nvSpPr>
          <p:cNvPr id="28" name="Shape 53">
            <a:extLst>
              <a:ext uri="{FF2B5EF4-FFF2-40B4-BE49-F238E27FC236}">
                <a16:creationId xmlns:a16="http://schemas.microsoft.com/office/drawing/2014/main" id="{C1A29D65-602E-590A-7E27-74FF2390CB5D}"/>
              </a:ext>
            </a:extLst>
          </p:cNvPr>
          <p:cNvSpPr/>
          <p:nvPr/>
        </p:nvSpPr>
        <p:spPr>
          <a:xfrm>
            <a:off x="2750590" y="2387600"/>
            <a:ext cx="2037141" cy="2045298"/>
          </a:xfrm>
          <a:prstGeom prst="ellipse">
            <a:avLst/>
          </a:prstGeom>
          <a:solidFill>
            <a:schemeClr val="accent6">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29" name="Shape 53">
            <a:extLst>
              <a:ext uri="{FF2B5EF4-FFF2-40B4-BE49-F238E27FC236}">
                <a16:creationId xmlns:a16="http://schemas.microsoft.com/office/drawing/2014/main" id="{35D59C78-B984-85A6-0E01-AE96527579BA}"/>
              </a:ext>
            </a:extLst>
          </p:cNvPr>
          <p:cNvSpPr/>
          <p:nvPr/>
        </p:nvSpPr>
        <p:spPr>
          <a:xfrm>
            <a:off x="5041838" y="2387600"/>
            <a:ext cx="2037141" cy="2045298"/>
          </a:xfrm>
          <a:prstGeom prst="ellipse">
            <a:avLst/>
          </a:prstGeom>
          <a:solidFill>
            <a:schemeClr val="accent3"/>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0" name="Shape 53">
            <a:extLst>
              <a:ext uri="{FF2B5EF4-FFF2-40B4-BE49-F238E27FC236}">
                <a16:creationId xmlns:a16="http://schemas.microsoft.com/office/drawing/2014/main" id="{2AE40188-B917-0790-4531-8858589607EF}"/>
              </a:ext>
            </a:extLst>
          </p:cNvPr>
          <p:cNvSpPr/>
          <p:nvPr/>
        </p:nvSpPr>
        <p:spPr>
          <a:xfrm>
            <a:off x="7333086" y="2387600"/>
            <a:ext cx="2037141" cy="2045298"/>
          </a:xfrm>
          <a:prstGeom prst="ellipse">
            <a:avLst/>
          </a:prstGeom>
          <a:solidFill>
            <a:schemeClr val="bg1">
              <a:lumMod val="75000"/>
            </a:schemeClr>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1" name="Shape 53">
            <a:extLst>
              <a:ext uri="{FF2B5EF4-FFF2-40B4-BE49-F238E27FC236}">
                <a16:creationId xmlns:a16="http://schemas.microsoft.com/office/drawing/2014/main" id="{D10B8604-E015-D5C9-7901-C24FD7306825}"/>
              </a:ext>
            </a:extLst>
          </p:cNvPr>
          <p:cNvSpPr/>
          <p:nvPr/>
        </p:nvSpPr>
        <p:spPr>
          <a:xfrm>
            <a:off x="9624334" y="2387600"/>
            <a:ext cx="2037141" cy="2045298"/>
          </a:xfrm>
          <a:prstGeom prst="ellipse">
            <a:avLst/>
          </a:prstGeom>
          <a:solidFill>
            <a:schemeClr val="accent4"/>
          </a:solidFill>
          <a:ln w="12700" cap="flat">
            <a:noFill/>
            <a:miter lim="400000"/>
          </a:ln>
          <a:effectLst/>
          <a:extLst>
            <a:ext uri="{C572A759-6A51-4108-AA02-DFA0A04FC94B}">
              <ma14:wrappingTextBoxFlag xmlns:ma14="http://schemas.microsoft.com/office/mac/drawingml/2011/main" xmlns=""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2" name="Freeform 31">
            <a:extLst>
              <a:ext uri="{FF2B5EF4-FFF2-40B4-BE49-F238E27FC236}">
                <a16:creationId xmlns:a16="http://schemas.microsoft.com/office/drawing/2014/main" id="{0B2EBFE4-65DA-A284-3F77-38B9FCF33E94}"/>
              </a:ext>
            </a:extLst>
          </p:cNvPr>
          <p:cNvSpPr>
            <a:spLocks noChangeArrowheads="1"/>
          </p:cNvSpPr>
          <p:nvPr/>
        </p:nvSpPr>
        <p:spPr bwMode="auto">
          <a:xfrm>
            <a:off x="830366" y="2938479"/>
            <a:ext cx="1295091" cy="943540"/>
          </a:xfrm>
          <a:custGeom>
            <a:avLst/>
            <a:gdLst>
              <a:gd name="connsiteX0" fmla="*/ 40308 w 374291"/>
              <a:gd name="connsiteY0" fmla="*/ 250825 h 272690"/>
              <a:gd name="connsiteX1" fmla="*/ 44105 w 374291"/>
              <a:gd name="connsiteY1" fmla="*/ 254621 h 272690"/>
              <a:gd name="connsiteX2" fmla="*/ 40308 w 374291"/>
              <a:gd name="connsiteY2" fmla="*/ 258417 h 272690"/>
              <a:gd name="connsiteX3" fmla="*/ 36512 w 374291"/>
              <a:gd name="connsiteY3" fmla="*/ 254621 h 272690"/>
              <a:gd name="connsiteX4" fmla="*/ 40308 w 374291"/>
              <a:gd name="connsiteY4" fmla="*/ 250825 h 272690"/>
              <a:gd name="connsiteX5" fmla="*/ 9708 w 374291"/>
              <a:gd name="connsiteY5" fmla="*/ 248161 h 272690"/>
              <a:gd name="connsiteX6" fmla="*/ 9708 w 374291"/>
              <a:gd name="connsiteY6" fmla="*/ 259344 h 272690"/>
              <a:gd name="connsiteX7" fmla="*/ 12944 w 374291"/>
              <a:gd name="connsiteY7" fmla="*/ 262951 h 272690"/>
              <a:gd name="connsiteX8" fmla="*/ 67955 w 374291"/>
              <a:gd name="connsiteY8" fmla="*/ 262951 h 272690"/>
              <a:gd name="connsiteX9" fmla="*/ 71191 w 374291"/>
              <a:gd name="connsiteY9" fmla="*/ 259344 h 272690"/>
              <a:gd name="connsiteX10" fmla="*/ 71191 w 374291"/>
              <a:gd name="connsiteY10" fmla="*/ 248161 h 272690"/>
              <a:gd name="connsiteX11" fmla="*/ 309562 w 374291"/>
              <a:gd name="connsiteY11" fmla="*/ 244475 h 272690"/>
              <a:gd name="connsiteX12" fmla="*/ 315559 w 374291"/>
              <a:gd name="connsiteY12" fmla="*/ 250653 h 272690"/>
              <a:gd name="connsiteX13" fmla="*/ 309562 w 374291"/>
              <a:gd name="connsiteY13" fmla="*/ 256832 h 272690"/>
              <a:gd name="connsiteX14" fmla="*/ 303212 w 374291"/>
              <a:gd name="connsiteY14" fmla="*/ 250653 h 272690"/>
              <a:gd name="connsiteX15" fmla="*/ 309562 w 374291"/>
              <a:gd name="connsiteY15" fmla="*/ 244475 h 272690"/>
              <a:gd name="connsiteX16" fmla="*/ 255639 w 374291"/>
              <a:gd name="connsiteY16" fmla="*/ 240226 h 272690"/>
              <a:gd name="connsiteX17" fmla="*/ 255639 w 374291"/>
              <a:gd name="connsiteY17" fmla="*/ 255015 h 272690"/>
              <a:gd name="connsiteX18" fmla="*/ 263190 w 374291"/>
              <a:gd name="connsiteY18" fmla="*/ 262951 h 272690"/>
              <a:gd name="connsiteX19" fmla="*/ 357032 w 374291"/>
              <a:gd name="connsiteY19" fmla="*/ 262951 h 272690"/>
              <a:gd name="connsiteX20" fmla="*/ 364583 w 374291"/>
              <a:gd name="connsiteY20" fmla="*/ 255015 h 272690"/>
              <a:gd name="connsiteX21" fmla="*/ 364583 w 374291"/>
              <a:gd name="connsiteY21" fmla="*/ 240226 h 272690"/>
              <a:gd name="connsiteX22" fmla="*/ 133393 w 374291"/>
              <a:gd name="connsiteY22" fmla="*/ 195860 h 272690"/>
              <a:gd name="connsiteX23" fmla="*/ 133393 w 374291"/>
              <a:gd name="connsiteY23" fmla="*/ 217863 h 272690"/>
              <a:gd name="connsiteX24" fmla="*/ 117213 w 374291"/>
              <a:gd name="connsiteY24" fmla="*/ 253212 h 272690"/>
              <a:gd name="connsiteX25" fmla="*/ 116494 w 374291"/>
              <a:gd name="connsiteY25" fmla="*/ 256819 h 272690"/>
              <a:gd name="connsiteX26" fmla="*/ 119370 w 374291"/>
              <a:gd name="connsiteY26" fmla="*/ 258622 h 272690"/>
              <a:gd name="connsiteX27" fmla="*/ 209617 w 374291"/>
              <a:gd name="connsiteY27" fmla="*/ 258622 h 272690"/>
              <a:gd name="connsiteX28" fmla="*/ 212493 w 374291"/>
              <a:gd name="connsiteY28" fmla="*/ 256819 h 272690"/>
              <a:gd name="connsiteX29" fmla="*/ 211415 w 374291"/>
              <a:gd name="connsiteY29" fmla="*/ 253212 h 272690"/>
              <a:gd name="connsiteX30" fmla="*/ 195235 w 374291"/>
              <a:gd name="connsiteY30" fmla="*/ 217863 h 272690"/>
              <a:gd name="connsiteX31" fmla="*/ 195235 w 374291"/>
              <a:gd name="connsiteY31" fmla="*/ 195860 h 272690"/>
              <a:gd name="connsiteX32" fmla="*/ 168103 w 374291"/>
              <a:gd name="connsiteY32" fmla="*/ 163512 h 272690"/>
              <a:gd name="connsiteX33" fmla="*/ 174282 w 374291"/>
              <a:gd name="connsiteY33" fmla="*/ 169690 h 272690"/>
              <a:gd name="connsiteX34" fmla="*/ 168103 w 374291"/>
              <a:gd name="connsiteY34" fmla="*/ 175869 h 272690"/>
              <a:gd name="connsiteX35" fmla="*/ 161925 w 374291"/>
              <a:gd name="connsiteY35" fmla="*/ 169690 h 272690"/>
              <a:gd name="connsiteX36" fmla="*/ 168103 w 374291"/>
              <a:gd name="connsiteY36" fmla="*/ 163512 h 272690"/>
              <a:gd name="connsiteX37" fmla="*/ 80899 w 374291"/>
              <a:gd name="connsiteY37" fmla="*/ 155101 h 272690"/>
              <a:gd name="connsiteX38" fmla="*/ 80899 w 374291"/>
              <a:gd name="connsiteY38" fmla="*/ 185760 h 272690"/>
              <a:gd name="connsiteX39" fmla="*/ 123685 w 374291"/>
              <a:gd name="connsiteY39" fmla="*/ 185760 h 272690"/>
              <a:gd name="connsiteX40" fmla="*/ 204943 w 374291"/>
              <a:gd name="connsiteY40" fmla="*/ 185760 h 272690"/>
              <a:gd name="connsiteX41" fmla="*/ 245932 w 374291"/>
              <a:gd name="connsiteY41" fmla="*/ 185760 h 272690"/>
              <a:gd name="connsiteX42" fmla="*/ 245932 w 374291"/>
              <a:gd name="connsiteY42" fmla="*/ 155101 h 272690"/>
              <a:gd name="connsiteX43" fmla="*/ 12944 w 374291"/>
              <a:gd name="connsiteY43" fmla="*/ 134902 h 272690"/>
              <a:gd name="connsiteX44" fmla="*/ 9708 w 374291"/>
              <a:gd name="connsiteY44" fmla="*/ 138509 h 272690"/>
              <a:gd name="connsiteX45" fmla="*/ 9708 w 374291"/>
              <a:gd name="connsiteY45" fmla="*/ 238423 h 272690"/>
              <a:gd name="connsiteX46" fmla="*/ 71191 w 374291"/>
              <a:gd name="connsiteY46" fmla="*/ 238423 h 272690"/>
              <a:gd name="connsiteX47" fmla="*/ 71191 w 374291"/>
              <a:gd name="connsiteY47" fmla="*/ 195860 h 272690"/>
              <a:gd name="connsiteX48" fmla="*/ 71191 w 374291"/>
              <a:gd name="connsiteY48" fmla="*/ 138509 h 272690"/>
              <a:gd name="connsiteX49" fmla="*/ 67955 w 374291"/>
              <a:gd name="connsiteY49" fmla="*/ 134902 h 272690"/>
              <a:gd name="connsiteX50" fmla="*/ 21213 w 374291"/>
              <a:gd name="connsiteY50" fmla="*/ 134902 h 272690"/>
              <a:gd name="connsiteX51" fmla="*/ 263190 w 374291"/>
              <a:gd name="connsiteY51" fmla="*/ 86568 h 272690"/>
              <a:gd name="connsiteX52" fmla="*/ 255639 w 374291"/>
              <a:gd name="connsiteY52" fmla="*/ 94142 h 272690"/>
              <a:gd name="connsiteX53" fmla="*/ 255639 w 374291"/>
              <a:gd name="connsiteY53" fmla="*/ 195860 h 272690"/>
              <a:gd name="connsiteX54" fmla="*/ 255639 w 374291"/>
              <a:gd name="connsiteY54" fmla="*/ 230487 h 272690"/>
              <a:gd name="connsiteX55" fmla="*/ 364583 w 374291"/>
              <a:gd name="connsiteY55" fmla="*/ 230487 h 272690"/>
              <a:gd name="connsiteX56" fmla="*/ 364583 w 374291"/>
              <a:gd name="connsiteY56" fmla="*/ 94142 h 272690"/>
              <a:gd name="connsiteX57" fmla="*/ 357032 w 374291"/>
              <a:gd name="connsiteY57" fmla="*/ 86568 h 272690"/>
              <a:gd name="connsiteX58" fmla="*/ 307414 w 374291"/>
              <a:gd name="connsiteY58" fmla="*/ 86568 h 272690"/>
              <a:gd name="connsiteX59" fmla="*/ 38112 w 374291"/>
              <a:gd name="connsiteY59" fmla="*/ 9739 h 272690"/>
              <a:gd name="connsiteX60" fmla="*/ 30921 w 374291"/>
              <a:gd name="connsiteY60" fmla="*/ 17313 h 272690"/>
              <a:gd name="connsiteX61" fmla="*/ 30921 w 374291"/>
              <a:gd name="connsiteY61" fmla="*/ 125163 h 272690"/>
              <a:gd name="connsiteX62" fmla="*/ 67955 w 374291"/>
              <a:gd name="connsiteY62" fmla="*/ 125163 h 272690"/>
              <a:gd name="connsiteX63" fmla="*/ 80899 w 374291"/>
              <a:gd name="connsiteY63" fmla="*/ 138509 h 272690"/>
              <a:gd name="connsiteX64" fmla="*/ 80899 w 374291"/>
              <a:gd name="connsiteY64" fmla="*/ 145362 h 272690"/>
              <a:gd name="connsiteX65" fmla="*/ 245932 w 374291"/>
              <a:gd name="connsiteY65" fmla="*/ 145362 h 272690"/>
              <a:gd name="connsiteX66" fmla="*/ 245932 w 374291"/>
              <a:gd name="connsiteY66" fmla="*/ 94142 h 272690"/>
              <a:gd name="connsiteX67" fmla="*/ 247370 w 374291"/>
              <a:gd name="connsiteY67" fmla="*/ 87289 h 272690"/>
              <a:gd name="connsiteX68" fmla="*/ 263190 w 374291"/>
              <a:gd name="connsiteY68" fmla="*/ 76829 h 272690"/>
              <a:gd name="connsiteX69" fmla="*/ 298066 w 374291"/>
              <a:gd name="connsiteY69" fmla="*/ 76829 h 272690"/>
              <a:gd name="connsiteX70" fmla="*/ 298066 w 374291"/>
              <a:gd name="connsiteY70" fmla="*/ 17313 h 272690"/>
              <a:gd name="connsiteX71" fmla="*/ 290516 w 374291"/>
              <a:gd name="connsiteY71" fmla="*/ 9739 h 272690"/>
              <a:gd name="connsiteX72" fmla="*/ 38112 w 374291"/>
              <a:gd name="connsiteY72" fmla="*/ 0 h 272690"/>
              <a:gd name="connsiteX73" fmla="*/ 290516 w 374291"/>
              <a:gd name="connsiteY73" fmla="*/ 0 h 272690"/>
              <a:gd name="connsiteX74" fmla="*/ 307414 w 374291"/>
              <a:gd name="connsiteY74" fmla="*/ 17313 h 272690"/>
              <a:gd name="connsiteX75" fmla="*/ 307414 w 374291"/>
              <a:gd name="connsiteY75" fmla="*/ 76829 h 272690"/>
              <a:gd name="connsiteX76" fmla="*/ 357032 w 374291"/>
              <a:gd name="connsiteY76" fmla="*/ 76829 h 272690"/>
              <a:gd name="connsiteX77" fmla="*/ 374291 w 374291"/>
              <a:gd name="connsiteY77" fmla="*/ 94142 h 272690"/>
              <a:gd name="connsiteX78" fmla="*/ 374291 w 374291"/>
              <a:gd name="connsiteY78" fmla="*/ 255015 h 272690"/>
              <a:gd name="connsiteX79" fmla="*/ 357032 w 374291"/>
              <a:gd name="connsiteY79" fmla="*/ 272690 h 272690"/>
              <a:gd name="connsiteX80" fmla="*/ 263190 w 374291"/>
              <a:gd name="connsiteY80" fmla="*/ 272690 h 272690"/>
              <a:gd name="connsiteX81" fmla="*/ 245932 w 374291"/>
              <a:gd name="connsiteY81" fmla="*/ 255015 h 272690"/>
              <a:gd name="connsiteX82" fmla="*/ 245932 w 374291"/>
              <a:gd name="connsiteY82" fmla="*/ 195860 h 272690"/>
              <a:gd name="connsiteX83" fmla="*/ 204943 w 374291"/>
              <a:gd name="connsiteY83" fmla="*/ 195860 h 272690"/>
              <a:gd name="connsiteX84" fmla="*/ 204943 w 374291"/>
              <a:gd name="connsiteY84" fmla="*/ 217863 h 272690"/>
              <a:gd name="connsiteX85" fmla="*/ 217527 w 374291"/>
              <a:gd name="connsiteY85" fmla="*/ 245637 h 272690"/>
              <a:gd name="connsiteX86" fmla="*/ 221482 w 374291"/>
              <a:gd name="connsiteY86" fmla="*/ 260065 h 272690"/>
              <a:gd name="connsiteX87" fmla="*/ 209617 w 374291"/>
              <a:gd name="connsiteY87" fmla="*/ 268722 h 272690"/>
              <a:gd name="connsiteX88" fmla="*/ 119370 w 374291"/>
              <a:gd name="connsiteY88" fmla="*/ 268722 h 272690"/>
              <a:gd name="connsiteX89" fmla="*/ 107146 w 374291"/>
              <a:gd name="connsiteY89" fmla="*/ 260065 h 272690"/>
              <a:gd name="connsiteX90" fmla="*/ 111101 w 374291"/>
              <a:gd name="connsiteY90" fmla="*/ 245637 h 272690"/>
              <a:gd name="connsiteX91" fmla="*/ 123685 w 374291"/>
              <a:gd name="connsiteY91" fmla="*/ 217863 h 272690"/>
              <a:gd name="connsiteX92" fmla="*/ 123685 w 374291"/>
              <a:gd name="connsiteY92" fmla="*/ 195860 h 272690"/>
              <a:gd name="connsiteX93" fmla="*/ 80899 w 374291"/>
              <a:gd name="connsiteY93" fmla="*/ 195860 h 272690"/>
              <a:gd name="connsiteX94" fmla="*/ 80899 w 374291"/>
              <a:gd name="connsiteY94" fmla="*/ 259344 h 272690"/>
              <a:gd name="connsiteX95" fmla="*/ 67955 w 374291"/>
              <a:gd name="connsiteY95" fmla="*/ 272690 h 272690"/>
              <a:gd name="connsiteX96" fmla="*/ 12944 w 374291"/>
              <a:gd name="connsiteY96" fmla="*/ 272690 h 272690"/>
              <a:gd name="connsiteX97" fmla="*/ 0 w 374291"/>
              <a:gd name="connsiteY97" fmla="*/ 259344 h 272690"/>
              <a:gd name="connsiteX98" fmla="*/ 0 w 374291"/>
              <a:gd name="connsiteY98" fmla="*/ 138509 h 272690"/>
              <a:gd name="connsiteX99" fmla="*/ 12944 w 374291"/>
              <a:gd name="connsiteY99" fmla="*/ 125163 h 272690"/>
              <a:gd name="connsiteX100" fmla="*/ 21213 w 374291"/>
              <a:gd name="connsiteY100" fmla="*/ 125163 h 272690"/>
              <a:gd name="connsiteX101" fmla="*/ 21213 w 374291"/>
              <a:gd name="connsiteY101" fmla="*/ 17313 h 272690"/>
              <a:gd name="connsiteX102" fmla="*/ 38112 w 374291"/>
              <a:gd name="connsiteY102"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74291" h="272690">
                <a:moveTo>
                  <a:pt x="40308" y="250825"/>
                </a:moveTo>
                <a:cubicBezTo>
                  <a:pt x="42379" y="250825"/>
                  <a:pt x="44105" y="252551"/>
                  <a:pt x="44105" y="254621"/>
                </a:cubicBezTo>
                <a:cubicBezTo>
                  <a:pt x="44105" y="257037"/>
                  <a:pt x="42379" y="258417"/>
                  <a:pt x="40308" y="258417"/>
                </a:cubicBezTo>
                <a:cubicBezTo>
                  <a:pt x="38238" y="258417"/>
                  <a:pt x="36512" y="257037"/>
                  <a:pt x="36512" y="254621"/>
                </a:cubicBezTo>
                <a:cubicBezTo>
                  <a:pt x="36512" y="252551"/>
                  <a:pt x="38238" y="250825"/>
                  <a:pt x="40308" y="250825"/>
                </a:cubicBezTo>
                <a:close/>
                <a:moveTo>
                  <a:pt x="9708" y="248161"/>
                </a:moveTo>
                <a:lnTo>
                  <a:pt x="9708" y="259344"/>
                </a:lnTo>
                <a:cubicBezTo>
                  <a:pt x="9708" y="261147"/>
                  <a:pt x="11506" y="262951"/>
                  <a:pt x="12944" y="262951"/>
                </a:cubicBezTo>
                <a:lnTo>
                  <a:pt x="67955" y="262951"/>
                </a:lnTo>
                <a:cubicBezTo>
                  <a:pt x="69753" y="262951"/>
                  <a:pt x="71191" y="261147"/>
                  <a:pt x="71191" y="259344"/>
                </a:cubicBezTo>
                <a:lnTo>
                  <a:pt x="71191" y="248161"/>
                </a:lnTo>
                <a:close/>
                <a:moveTo>
                  <a:pt x="309562" y="244475"/>
                </a:moveTo>
                <a:cubicBezTo>
                  <a:pt x="312737" y="244475"/>
                  <a:pt x="315559" y="247221"/>
                  <a:pt x="315559" y="250653"/>
                </a:cubicBezTo>
                <a:cubicBezTo>
                  <a:pt x="315559" y="254086"/>
                  <a:pt x="312737" y="256832"/>
                  <a:pt x="309562" y="256832"/>
                </a:cubicBezTo>
                <a:cubicBezTo>
                  <a:pt x="306034" y="256832"/>
                  <a:pt x="303212" y="254086"/>
                  <a:pt x="303212" y="250653"/>
                </a:cubicBezTo>
                <a:cubicBezTo>
                  <a:pt x="303212" y="247221"/>
                  <a:pt x="306034" y="244475"/>
                  <a:pt x="309562" y="244475"/>
                </a:cubicBezTo>
                <a:close/>
                <a:moveTo>
                  <a:pt x="255639" y="240226"/>
                </a:moveTo>
                <a:lnTo>
                  <a:pt x="255639" y="255015"/>
                </a:lnTo>
                <a:cubicBezTo>
                  <a:pt x="255639" y="259344"/>
                  <a:pt x="258875" y="262951"/>
                  <a:pt x="263190" y="262951"/>
                </a:cubicBezTo>
                <a:lnTo>
                  <a:pt x="357032" y="262951"/>
                </a:lnTo>
                <a:cubicBezTo>
                  <a:pt x="361347" y="262951"/>
                  <a:pt x="364583" y="259344"/>
                  <a:pt x="364583" y="255015"/>
                </a:cubicBezTo>
                <a:lnTo>
                  <a:pt x="364583" y="240226"/>
                </a:lnTo>
                <a:close/>
                <a:moveTo>
                  <a:pt x="133393" y="195860"/>
                </a:moveTo>
                <a:lnTo>
                  <a:pt x="133393" y="217863"/>
                </a:lnTo>
                <a:cubicBezTo>
                  <a:pt x="133393" y="231930"/>
                  <a:pt x="127640" y="244554"/>
                  <a:pt x="117213" y="253212"/>
                </a:cubicBezTo>
                <a:cubicBezTo>
                  <a:pt x="115775" y="254655"/>
                  <a:pt x="116134" y="256097"/>
                  <a:pt x="116494" y="256819"/>
                </a:cubicBezTo>
                <a:cubicBezTo>
                  <a:pt x="116494" y="257179"/>
                  <a:pt x="117213" y="258622"/>
                  <a:pt x="119370" y="258622"/>
                </a:cubicBezTo>
                <a:lnTo>
                  <a:pt x="209617" y="258622"/>
                </a:lnTo>
                <a:cubicBezTo>
                  <a:pt x="211415" y="258622"/>
                  <a:pt x="212134" y="257179"/>
                  <a:pt x="212493" y="256819"/>
                </a:cubicBezTo>
                <a:cubicBezTo>
                  <a:pt x="212853" y="256097"/>
                  <a:pt x="212853" y="254655"/>
                  <a:pt x="211415" y="253212"/>
                </a:cubicBezTo>
                <a:cubicBezTo>
                  <a:pt x="200988" y="244554"/>
                  <a:pt x="195235" y="231930"/>
                  <a:pt x="195235" y="217863"/>
                </a:cubicBezTo>
                <a:lnTo>
                  <a:pt x="195235" y="195860"/>
                </a:lnTo>
                <a:close/>
                <a:moveTo>
                  <a:pt x="168103" y="163512"/>
                </a:moveTo>
                <a:cubicBezTo>
                  <a:pt x="171536" y="163512"/>
                  <a:pt x="174282" y="166258"/>
                  <a:pt x="174282" y="169690"/>
                </a:cubicBezTo>
                <a:cubicBezTo>
                  <a:pt x="174282" y="173123"/>
                  <a:pt x="171536" y="175869"/>
                  <a:pt x="168103" y="175869"/>
                </a:cubicBezTo>
                <a:cubicBezTo>
                  <a:pt x="164671" y="175869"/>
                  <a:pt x="161925" y="173123"/>
                  <a:pt x="161925" y="169690"/>
                </a:cubicBezTo>
                <a:cubicBezTo>
                  <a:pt x="161925" y="166258"/>
                  <a:pt x="164671" y="163512"/>
                  <a:pt x="168103" y="163512"/>
                </a:cubicBezTo>
                <a:close/>
                <a:moveTo>
                  <a:pt x="80899" y="155101"/>
                </a:moveTo>
                <a:lnTo>
                  <a:pt x="80899" y="185760"/>
                </a:lnTo>
                <a:lnTo>
                  <a:pt x="123685" y="185760"/>
                </a:lnTo>
                <a:lnTo>
                  <a:pt x="204943" y="185760"/>
                </a:lnTo>
                <a:lnTo>
                  <a:pt x="245932" y="185760"/>
                </a:lnTo>
                <a:lnTo>
                  <a:pt x="245932" y="155101"/>
                </a:lnTo>
                <a:close/>
                <a:moveTo>
                  <a:pt x="12944" y="134902"/>
                </a:moveTo>
                <a:cubicBezTo>
                  <a:pt x="11506" y="134902"/>
                  <a:pt x="9708" y="136705"/>
                  <a:pt x="9708" y="138509"/>
                </a:cubicBezTo>
                <a:lnTo>
                  <a:pt x="9708" y="238423"/>
                </a:lnTo>
                <a:lnTo>
                  <a:pt x="71191" y="238423"/>
                </a:lnTo>
                <a:lnTo>
                  <a:pt x="71191" y="195860"/>
                </a:lnTo>
                <a:lnTo>
                  <a:pt x="71191" y="138509"/>
                </a:lnTo>
                <a:cubicBezTo>
                  <a:pt x="71191" y="136705"/>
                  <a:pt x="69753" y="134902"/>
                  <a:pt x="67955" y="134902"/>
                </a:cubicBezTo>
                <a:lnTo>
                  <a:pt x="21213" y="134902"/>
                </a:lnTo>
                <a:close/>
                <a:moveTo>
                  <a:pt x="263190" y="86568"/>
                </a:moveTo>
                <a:cubicBezTo>
                  <a:pt x="258875" y="86568"/>
                  <a:pt x="255639" y="89814"/>
                  <a:pt x="255639" y="94142"/>
                </a:cubicBezTo>
                <a:lnTo>
                  <a:pt x="255639" y="195860"/>
                </a:lnTo>
                <a:lnTo>
                  <a:pt x="255639" y="230487"/>
                </a:lnTo>
                <a:lnTo>
                  <a:pt x="364583" y="230487"/>
                </a:lnTo>
                <a:lnTo>
                  <a:pt x="364583" y="94142"/>
                </a:lnTo>
                <a:cubicBezTo>
                  <a:pt x="364583" y="89814"/>
                  <a:pt x="361347" y="86568"/>
                  <a:pt x="357032" y="86568"/>
                </a:cubicBezTo>
                <a:lnTo>
                  <a:pt x="307414" y="86568"/>
                </a:lnTo>
                <a:close/>
                <a:moveTo>
                  <a:pt x="38112" y="9739"/>
                </a:moveTo>
                <a:cubicBezTo>
                  <a:pt x="34157" y="9739"/>
                  <a:pt x="30921" y="12985"/>
                  <a:pt x="30921" y="17313"/>
                </a:cubicBezTo>
                <a:lnTo>
                  <a:pt x="30921" y="125163"/>
                </a:lnTo>
                <a:lnTo>
                  <a:pt x="67955" y="125163"/>
                </a:lnTo>
                <a:cubicBezTo>
                  <a:pt x="75146" y="125163"/>
                  <a:pt x="80899" y="130934"/>
                  <a:pt x="80899" y="138509"/>
                </a:cubicBezTo>
                <a:lnTo>
                  <a:pt x="80899" y="145362"/>
                </a:lnTo>
                <a:lnTo>
                  <a:pt x="245932" y="145362"/>
                </a:lnTo>
                <a:lnTo>
                  <a:pt x="245932" y="94142"/>
                </a:lnTo>
                <a:cubicBezTo>
                  <a:pt x="245932" y="91618"/>
                  <a:pt x="246651" y="89453"/>
                  <a:pt x="247370" y="87289"/>
                </a:cubicBezTo>
                <a:cubicBezTo>
                  <a:pt x="249887" y="81157"/>
                  <a:pt x="255999" y="76829"/>
                  <a:pt x="263190" y="76829"/>
                </a:cubicBezTo>
                <a:lnTo>
                  <a:pt x="298066" y="76829"/>
                </a:lnTo>
                <a:lnTo>
                  <a:pt x="298066" y="17313"/>
                </a:lnTo>
                <a:cubicBezTo>
                  <a:pt x="298066" y="12985"/>
                  <a:pt x="294471" y="9739"/>
                  <a:pt x="290516" y="9739"/>
                </a:cubicBezTo>
                <a:close/>
                <a:moveTo>
                  <a:pt x="38112" y="0"/>
                </a:moveTo>
                <a:lnTo>
                  <a:pt x="290516" y="0"/>
                </a:lnTo>
                <a:cubicBezTo>
                  <a:pt x="300223" y="0"/>
                  <a:pt x="307414" y="7574"/>
                  <a:pt x="307414" y="17313"/>
                </a:cubicBezTo>
                <a:lnTo>
                  <a:pt x="307414" y="76829"/>
                </a:lnTo>
                <a:lnTo>
                  <a:pt x="357032" y="76829"/>
                </a:lnTo>
                <a:cubicBezTo>
                  <a:pt x="366740" y="76829"/>
                  <a:pt x="374291" y="84404"/>
                  <a:pt x="374291" y="94142"/>
                </a:cubicBezTo>
                <a:lnTo>
                  <a:pt x="374291" y="255015"/>
                </a:lnTo>
                <a:cubicBezTo>
                  <a:pt x="374291" y="264754"/>
                  <a:pt x="366740" y="272690"/>
                  <a:pt x="357032" y="272690"/>
                </a:cubicBezTo>
                <a:lnTo>
                  <a:pt x="263190" y="272690"/>
                </a:lnTo>
                <a:cubicBezTo>
                  <a:pt x="253482" y="272690"/>
                  <a:pt x="245932" y="264754"/>
                  <a:pt x="245932" y="255015"/>
                </a:cubicBezTo>
                <a:lnTo>
                  <a:pt x="245932" y="195860"/>
                </a:lnTo>
                <a:lnTo>
                  <a:pt x="204943" y="195860"/>
                </a:lnTo>
                <a:lnTo>
                  <a:pt x="204943" y="217863"/>
                </a:lnTo>
                <a:cubicBezTo>
                  <a:pt x="204943" y="228684"/>
                  <a:pt x="209617" y="238783"/>
                  <a:pt x="217527" y="245637"/>
                </a:cubicBezTo>
                <a:cubicBezTo>
                  <a:pt x="221842" y="249244"/>
                  <a:pt x="223280" y="254655"/>
                  <a:pt x="221482" y="260065"/>
                </a:cubicBezTo>
                <a:cubicBezTo>
                  <a:pt x="219684" y="265115"/>
                  <a:pt x="215010" y="268722"/>
                  <a:pt x="209617" y="268722"/>
                </a:cubicBezTo>
                <a:lnTo>
                  <a:pt x="119370" y="268722"/>
                </a:lnTo>
                <a:cubicBezTo>
                  <a:pt x="113618" y="268722"/>
                  <a:pt x="108943" y="265115"/>
                  <a:pt x="107146" y="260065"/>
                </a:cubicBezTo>
                <a:cubicBezTo>
                  <a:pt x="105348" y="254655"/>
                  <a:pt x="106786" y="249244"/>
                  <a:pt x="111101" y="245637"/>
                </a:cubicBezTo>
                <a:cubicBezTo>
                  <a:pt x="119370" y="238783"/>
                  <a:pt x="123685" y="228684"/>
                  <a:pt x="123685" y="217863"/>
                </a:cubicBezTo>
                <a:lnTo>
                  <a:pt x="123685" y="195860"/>
                </a:lnTo>
                <a:lnTo>
                  <a:pt x="80899" y="195860"/>
                </a:lnTo>
                <a:lnTo>
                  <a:pt x="80899" y="259344"/>
                </a:lnTo>
                <a:cubicBezTo>
                  <a:pt x="80899" y="266558"/>
                  <a:pt x="75146" y="272690"/>
                  <a:pt x="67955" y="272690"/>
                </a:cubicBezTo>
                <a:lnTo>
                  <a:pt x="12944" y="272690"/>
                </a:lnTo>
                <a:cubicBezTo>
                  <a:pt x="5753" y="272690"/>
                  <a:pt x="0" y="266558"/>
                  <a:pt x="0" y="259344"/>
                </a:cubicBezTo>
                <a:lnTo>
                  <a:pt x="0" y="138509"/>
                </a:lnTo>
                <a:cubicBezTo>
                  <a:pt x="0" y="130934"/>
                  <a:pt x="5753" y="125163"/>
                  <a:pt x="12944" y="125163"/>
                </a:cubicBezTo>
                <a:lnTo>
                  <a:pt x="21213" y="125163"/>
                </a:lnTo>
                <a:lnTo>
                  <a:pt x="21213" y="17313"/>
                </a:lnTo>
                <a:cubicBezTo>
                  <a:pt x="21213" y="7574"/>
                  <a:pt x="28764" y="0"/>
                  <a:pt x="38112"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599" dirty="0">
              <a:latin typeface="Poppins" pitchFamily="2" charset="77"/>
            </a:endParaRPr>
          </a:p>
        </p:txBody>
      </p:sp>
      <p:sp>
        <p:nvSpPr>
          <p:cNvPr id="33" name="Freeform 32">
            <a:extLst>
              <a:ext uri="{FF2B5EF4-FFF2-40B4-BE49-F238E27FC236}">
                <a16:creationId xmlns:a16="http://schemas.microsoft.com/office/drawing/2014/main" id="{5E17FEAE-B00E-2BA6-BAEF-B860C43EF719}"/>
              </a:ext>
            </a:extLst>
          </p:cNvPr>
          <p:cNvSpPr>
            <a:spLocks noChangeArrowheads="1"/>
          </p:cNvSpPr>
          <p:nvPr/>
        </p:nvSpPr>
        <p:spPr bwMode="auto">
          <a:xfrm>
            <a:off x="7712354" y="2699602"/>
            <a:ext cx="1278604" cy="1300898"/>
          </a:xfrm>
          <a:custGeom>
            <a:avLst/>
            <a:gdLst>
              <a:gd name="connsiteX0" fmla="*/ 260119 w 369526"/>
              <a:gd name="connsiteY0" fmla="*/ 330680 h 375969"/>
              <a:gd name="connsiteX1" fmla="*/ 260119 w 369526"/>
              <a:gd name="connsiteY1" fmla="*/ 342901 h 375969"/>
              <a:gd name="connsiteX2" fmla="*/ 249287 w 369526"/>
              <a:gd name="connsiteY2" fmla="*/ 366264 h 375969"/>
              <a:gd name="connsiteX3" fmla="*/ 255064 w 369526"/>
              <a:gd name="connsiteY3" fmla="*/ 366264 h 375969"/>
              <a:gd name="connsiteX4" fmla="*/ 305976 w 369526"/>
              <a:gd name="connsiteY4" fmla="*/ 366264 h 375969"/>
              <a:gd name="connsiteX5" fmla="*/ 295144 w 369526"/>
              <a:gd name="connsiteY5" fmla="*/ 342901 h 375969"/>
              <a:gd name="connsiteX6" fmla="*/ 295144 w 369526"/>
              <a:gd name="connsiteY6" fmla="*/ 330680 h 375969"/>
              <a:gd name="connsiteX7" fmla="*/ 280021 w 369526"/>
              <a:gd name="connsiteY7" fmla="*/ 308065 h 375969"/>
              <a:gd name="connsiteX8" fmla="*/ 283817 w 369526"/>
              <a:gd name="connsiteY8" fmla="*/ 311703 h 375969"/>
              <a:gd name="connsiteX9" fmla="*/ 280021 w 369526"/>
              <a:gd name="connsiteY9" fmla="*/ 315672 h 375969"/>
              <a:gd name="connsiteX10" fmla="*/ 276225 w 369526"/>
              <a:gd name="connsiteY10" fmla="*/ 311703 h 375969"/>
              <a:gd name="connsiteX11" fmla="*/ 280021 w 369526"/>
              <a:gd name="connsiteY11" fmla="*/ 308065 h 375969"/>
              <a:gd name="connsiteX12" fmla="*/ 144685 w 369526"/>
              <a:gd name="connsiteY12" fmla="*/ 306823 h 375969"/>
              <a:gd name="connsiteX13" fmla="*/ 169513 w 369526"/>
              <a:gd name="connsiteY13" fmla="*/ 312345 h 375969"/>
              <a:gd name="connsiteX14" fmla="*/ 173895 w 369526"/>
              <a:gd name="connsiteY14" fmla="*/ 317867 h 375969"/>
              <a:gd name="connsiteX15" fmla="*/ 169148 w 369526"/>
              <a:gd name="connsiteY15" fmla="*/ 322008 h 375969"/>
              <a:gd name="connsiteX16" fmla="*/ 168418 w 369526"/>
              <a:gd name="connsiteY16" fmla="*/ 321663 h 375969"/>
              <a:gd name="connsiteX17" fmla="*/ 141764 w 369526"/>
              <a:gd name="connsiteY17" fmla="*/ 316141 h 375969"/>
              <a:gd name="connsiteX18" fmla="*/ 138843 w 369526"/>
              <a:gd name="connsiteY18" fmla="*/ 309929 h 375969"/>
              <a:gd name="connsiteX19" fmla="*/ 144685 w 369526"/>
              <a:gd name="connsiteY19" fmla="*/ 306823 h 375969"/>
              <a:gd name="connsiteX20" fmla="*/ 195125 w 369526"/>
              <a:gd name="connsiteY20" fmla="*/ 305520 h 375969"/>
              <a:gd name="connsiteX21" fmla="*/ 195125 w 369526"/>
              <a:gd name="connsiteY21" fmla="*/ 318100 h 375969"/>
              <a:gd name="connsiteX22" fmla="*/ 198375 w 369526"/>
              <a:gd name="connsiteY22" fmla="*/ 320975 h 375969"/>
              <a:gd name="connsiteX23" fmla="*/ 250370 w 369526"/>
              <a:gd name="connsiteY23" fmla="*/ 320975 h 375969"/>
              <a:gd name="connsiteX24" fmla="*/ 304893 w 369526"/>
              <a:gd name="connsiteY24" fmla="*/ 320975 h 375969"/>
              <a:gd name="connsiteX25" fmla="*/ 356888 w 369526"/>
              <a:gd name="connsiteY25" fmla="*/ 320975 h 375969"/>
              <a:gd name="connsiteX26" fmla="*/ 359777 w 369526"/>
              <a:gd name="connsiteY26" fmla="*/ 318100 h 375969"/>
              <a:gd name="connsiteX27" fmla="*/ 359777 w 369526"/>
              <a:gd name="connsiteY27" fmla="*/ 305520 h 375969"/>
              <a:gd name="connsiteX28" fmla="*/ 89158 w 369526"/>
              <a:gd name="connsiteY28" fmla="*/ 275338 h 375969"/>
              <a:gd name="connsiteX29" fmla="*/ 96173 w 369526"/>
              <a:gd name="connsiteY29" fmla="*/ 275338 h 375969"/>
              <a:gd name="connsiteX30" fmla="*/ 115740 w 369526"/>
              <a:gd name="connsiteY30" fmla="*/ 292190 h 375969"/>
              <a:gd name="connsiteX31" fmla="*/ 117216 w 369526"/>
              <a:gd name="connsiteY31" fmla="*/ 299151 h 375969"/>
              <a:gd name="connsiteX32" fmla="*/ 112786 w 369526"/>
              <a:gd name="connsiteY32" fmla="*/ 301349 h 375969"/>
              <a:gd name="connsiteX33" fmla="*/ 110202 w 369526"/>
              <a:gd name="connsiteY33" fmla="*/ 300250 h 375969"/>
              <a:gd name="connsiteX34" fmla="*/ 89158 w 369526"/>
              <a:gd name="connsiteY34" fmla="*/ 282299 h 375969"/>
              <a:gd name="connsiteX35" fmla="*/ 89158 w 369526"/>
              <a:gd name="connsiteY35" fmla="*/ 275338 h 375969"/>
              <a:gd name="connsiteX36" fmla="*/ 59476 w 369526"/>
              <a:gd name="connsiteY36" fmla="*/ 219878 h 375969"/>
              <a:gd name="connsiteX37" fmla="*/ 65170 w 369526"/>
              <a:gd name="connsiteY37" fmla="*/ 223442 h 375969"/>
              <a:gd name="connsiteX38" fmla="*/ 74421 w 369526"/>
              <a:gd name="connsiteY38" fmla="*/ 246963 h 375969"/>
              <a:gd name="connsiteX39" fmla="*/ 72286 w 369526"/>
              <a:gd name="connsiteY39" fmla="*/ 253377 h 375969"/>
              <a:gd name="connsiteX40" fmla="*/ 70151 w 369526"/>
              <a:gd name="connsiteY40" fmla="*/ 253734 h 375969"/>
              <a:gd name="connsiteX41" fmla="*/ 66237 w 369526"/>
              <a:gd name="connsiteY41" fmla="*/ 251239 h 375969"/>
              <a:gd name="connsiteX42" fmla="*/ 56274 w 369526"/>
              <a:gd name="connsiteY42" fmla="*/ 225936 h 375969"/>
              <a:gd name="connsiteX43" fmla="*/ 59476 w 369526"/>
              <a:gd name="connsiteY43" fmla="*/ 219878 h 375969"/>
              <a:gd name="connsiteX44" fmla="*/ 198375 w 369526"/>
              <a:gd name="connsiteY44" fmla="*/ 214582 h 375969"/>
              <a:gd name="connsiteX45" fmla="*/ 195125 w 369526"/>
              <a:gd name="connsiteY45" fmla="*/ 217458 h 375969"/>
              <a:gd name="connsiteX46" fmla="*/ 195125 w 369526"/>
              <a:gd name="connsiteY46" fmla="*/ 295456 h 375969"/>
              <a:gd name="connsiteX47" fmla="*/ 359777 w 369526"/>
              <a:gd name="connsiteY47" fmla="*/ 295456 h 375969"/>
              <a:gd name="connsiteX48" fmla="*/ 359777 w 369526"/>
              <a:gd name="connsiteY48" fmla="*/ 217458 h 375969"/>
              <a:gd name="connsiteX49" fmla="*/ 356888 w 369526"/>
              <a:gd name="connsiteY49" fmla="*/ 214582 h 375969"/>
              <a:gd name="connsiteX50" fmla="*/ 198375 w 369526"/>
              <a:gd name="connsiteY50" fmla="*/ 204878 h 375969"/>
              <a:gd name="connsiteX51" fmla="*/ 356888 w 369526"/>
              <a:gd name="connsiteY51" fmla="*/ 204878 h 375969"/>
              <a:gd name="connsiteX52" fmla="*/ 369526 w 369526"/>
              <a:gd name="connsiteY52" fmla="*/ 217458 h 375969"/>
              <a:gd name="connsiteX53" fmla="*/ 369526 w 369526"/>
              <a:gd name="connsiteY53" fmla="*/ 318100 h 375969"/>
              <a:gd name="connsiteX54" fmla="*/ 356888 w 369526"/>
              <a:gd name="connsiteY54" fmla="*/ 330680 h 375969"/>
              <a:gd name="connsiteX55" fmla="*/ 304893 w 369526"/>
              <a:gd name="connsiteY55" fmla="*/ 330680 h 375969"/>
              <a:gd name="connsiteX56" fmla="*/ 304893 w 369526"/>
              <a:gd name="connsiteY56" fmla="*/ 342901 h 375969"/>
              <a:gd name="connsiteX57" fmla="*/ 312115 w 369526"/>
              <a:gd name="connsiteY57" fmla="*/ 358357 h 375969"/>
              <a:gd name="connsiteX58" fmla="*/ 315003 w 369526"/>
              <a:gd name="connsiteY58" fmla="*/ 369499 h 375969"/>
              <a:gd name="connsiteX59" fmla="*/ 305976 w 369526"/>
              <a:gd name="connsiteY59" fmla="*/ 375969 h 375969"/>
              <a:gd name="connsiteX60" fmla="*/ 249287 w 369526"/>
              <a:gd name="connsiteY60" fmla="*/ 375969 h 375969"/>
              <a:gd name="connsiteX61" fmla="*/ 239899 w 369526"/>
              <a:gd name="connsiteY61" fmla="*/ 369499 h 375969"/>
              <a:gd name="connsiteX62" fmla="*/ 242788 w 369526"/>
              <a:gd name="connsiteY62" fmla="*/ 358357 h 375969"/>
              <a:gd name="connsiteX63" fmla="*/ 250370 w 369526"/>
              <a:gd name="connsiteY63" fmla="*/ 342901 h 375969"/>
              <a:gd name="connsiteX64" fmla="*/ 250370 w 369526"/>
              <a:gd name="connsiteY64" fmla="*/ 330680 h 375969"/>
              <a:gd name="connsiteX65" fmla="*/ 198375 w 369526"/>
              <a:gd name="connsiteY65" fmla="*/ 330680 h 375969"/>
              <a:gd name="connsiteX66" fmla="*/ 185737 w 369526"/>
              <a:gd name="connsiteY66" fmla="*/ 318100 h 375969"/>
              <a:gd name="connsiteX67" fmla="*/ 185737 w 369526"/>
              <a:gd name="connsiteY67" fmla="*/ 217458 h 375969"/>
              <a:gd name="connsiteX68" fmla="*/ 198375 w 369526"/>
              <a:gd name="connsiteY68" fmla="*/ 204878 h 375969"/>
              <a:gd name="connsiteX69" fmla="*/ 60733 w 369526"/>
              <a:gd name="connsiteY69" fmla="*/ 156397 h 375969"/>
              <a:gd name="connsiteX70" fmla="*/ 64362 w 369526"/>
              <a:gd name="connsiteY70" fmla="*/ 162259 h 375969"/>
              <a:gd name="connsiteX71" fmla="*/ 61822 w 369526"/>
              <a:gd name="connsiteY71" fmla="*/ 188270 h 375969"/>
              <a:gd name="connsiteX72" fmla="*/ 56742 w 369526"/>
              <a:gd name="connsiteY72" fmla="*/ 193398 h 375969"/>
              <a:gd name="connsiteX73" fmla="*/ 52387 w 369526"/>
              <a:gd name="connsiteY73" fmla="*/ 188270 h 375969"/>
              <a:gd name="connsiteX74" fmla="*/ 54927 w 369526"/>
              <a:gd name="connsiteY74" fmla="*/ 160061 h 375969"/>
              <a:gd name="connsiteX75" fmla="*/ 60733 w 369526"/>
              <a:gd name="connsiteY75" fmla="*/ 156397 h 375969"/>
              <a:gd name="connsiteX76" fmla="*/ 309086 w 369526"/>
              <a:gd name="connsiteY76" fmla="*/ 151628 h 375969"/>
              <a:gd name="connsiteX77" fmla="*/ 314801 w 369526"/>
              <a:gd name="connsiteY77" fmla="*/ 155257 h 375969"/>
              <a:gd name="connsiteX78" fmla="*/ 318373 w 369526"/>
              <a:gd name="connsiteY78" fmla="*/ 182834 h 375969"/>
              <a:gd name="connsiteX79" fmla="*/ 318730 w 369526"/>
              <a:gd name="connsiteY79" fmla="*/ 183197 h 375969"/>
              <a:gd name="connsiteX80" fmla="*/ 313730 w 369526"/>
              <a:gd name="connsiteY80" fmla="*/ 188640 h 375969"/>
              <a:gd name="connsiteX81" fmla="*/ 309086 w 369526"/>
              <a:gd name="connsiteY81" fmla="*/ 183560 h 375969"/>
              <a:gd name="connsiteX82" fmla="*/ 309086 w 369526"/>
              <a:gd name="connsiteY82" fmla="*/ 183197 h 375969"/>
              <a:gd name="connsiteX83" fmla="*/ 305515 w 369526"/>
              <a:gd name="connsiteY83" fmla="*/ 157797 h 375969"/>
              <a:gd name="connsiteX84" fmla="*/ 309086 w 369526"/>
              <a:gd name="connsiteY84" fmla="*/ 151628 h 375969"/>
              <a:gd name="connsiteX85" fmla="*/ 278413 w 369526"/>
              <a:gd name="connsiteY85" fmla="*/ 97104 h 375969"/>
              <a:gd name="connsiteX86" fmla="*/ 285342 w 369526"/>
              <a:gd name="connsiteY86" fmla="*/ 97456 h 375969"/>
              <a:gd name="connsiteX87" fmla="*/ 301389 w 369526"/>
              <a:gd name="connsiteY87" fmla="*/ 119681 h 375969"/>
              <a:gd name="connsiteX88" fmla="*/ 299565 w 369526"/>
              <a:gd name="connsiteY88" fmla="*/ 126031 h 375969"/>
              <a:gd name="connsiteX89" fmla="*/ 297013 w 369526"/>
              <a:gd name="connsiteY89" fmla="*/ 126737 h 375969"/>
              <a:gd name="connsiteX90" fmla="*/ 293001 w 369526"/>
              <a:gd name="connsiteY90" fmla="*/ 124268 h 375969"/>
              <a:gd name="connsiteX91" fmla="*/ 278049 w 369526"/>
              <a:gd name="connsiteY91" fmla="*/ 104159 h 375969"/>
              <a:gd name="connsiteX92" fmla="*/ 278413 w 369526"/>
              <a:gd name="connsiteY92" fmla="*/ 97104 h 375969"/>
              <a:gd name="connsiteX93" fmla="*/ 232626 w 369526"/>
              <a:gd name="connsiteY93" fmla="*/ 61531 h 375969"/>
              <a:gd name="connsiteX94" fmla="*/ 257110 w 369526"/>
              <a:gd name="connsiteY94" fmla="*/ 74182 h 375969"/>
              <a:gd name="connsiteX95" fmla="*/ 258550 w 369526"/>
              <a:gd name="connsiteY95" fmla="*/ 81251 h 375969"/>
              <a:gd name="connsiteX96" fmla="*/ 254589 w 369526"/>
              <a:gd name="connsiteY96" fmla="*/ 83856 h 375969"/>
              <a:gd name="connsiteX97" fmla="*/ 251709 w 369526"/>
              <a:gd name="connsiteY97" fmla="*/ 82739 h 375969"/>
              <a:gd name="connsiteX98" fmla="*/ 229386 w 369526"/>
              <a:gd name="connsiteY98" fmla="*/ 70833 h 375969"/>
              <a:gd name="connsiteX99" fmla="*/ 226505 w 369526"/>
              <a:gd name="connsiteY99" fmla="*/ 64508 h 375969"/>
              <a:gd name="connsiteX100" fmla="*/ 232626 w 369526"/>
              <a:gd name="connsiteY100" fmla="*/ 61531 h 375969"/>
              <a:gd name="connsiteX101" fmla="*/ 126767 w 369526"/>
              <a:gd name="connsiteY101" fmla="*/ 10079 h 375969"/>
              <a:gd name="connsiteX102" fmla="*/ 97319 w 369526"/>
              <a:gd name="connsiteY102" fmla="*/ 22379 h 375969"/>
              <a:gd name="connsiteX103" fmla="*/ 85469 w 369526"/>
              <a:gd name="connsiteY103" fmla="*/ 24188 h 375969"/>
              <a:gd name="connsiteX104" fmla="*/ 67513 w 369526"/>
              <a:gd name="connsiteY104" fmla="*/ 19123 h 375969"/>
              <a:gd name="connsiteX105" fmla="*/ 34474 w 369526"/>
              <a:gd name="connsiteY105" fmla="*/ 53129 h 375969"/>
              <a:gd name="connsiteX106" fmla="*/ 34474 w 369526"/>
              <a:gd name="connsiteY106" fmla="*/ 53490 h 375969"/>
              <a:gd name="connsiteX107" fmla="*/ 63922 w 369526"/>
              <a:gd name="connsiteY107" fmla="*/ 63258 h 375969"/>
              <a:gd name="connsiteX108" fmla="*/ 63922 w 369526"/>
              <a:gd name="connsiteY108" fmla="*/ 70132 h 375969"/>
              <a:gd name="connsiteX109" fmla="*/ 57099 w 369526"/>
              <a:gd name="connsiteY109" fmla="*/ 69770 h 375969"/>
              <a:gd name="connsiteX110" fmla="*/ 30165 w 369526"/>
              <a:gd name="connsiteY110" fmla="*/ 63620 h 375969"/>
              <a:gd name="connsiteX111" fmla="*/ 21906 w 369526"/>
              <a:gd name="connsiteY111" fmla="*/ 66152 h 375969"/>
              <a:gd name="connsiteX112" fmla="*/ 11491 w 369526"/>
              <a:gd name="connsiteY112" fmla="*/ 78090 h 375969"/>
              <a:gd name="connsiteX113" fmla="*/ 9696 w 369526"/>
              <a:gd name="connsiteY113" fmla="*/ 88581 h 375969"/>
              <a:gd name="connsiteX114" fmla="*/ 33756 w 369526"/>
              <a:gd name="connsiteY114" fmla="*/ 112096 h 375969"/>
              <a:gd name="connsiteX115" fmla="*/ 155495 w 369526"/>
              <a:gd name="connsiteY115" fmla="*/ 112096 h 375969"/>
              <a:gd name="connsiteX116" fmla="*/ 179197 w 369526"/>
              <a:gd name="connsiteY116" fmla="*/ 87496 h 375969"/>
              <a:gd name="connsiteX117" fmla="*/ 161241 w 369526"/>
              <a:gd name="connsiteY117" fmla="*/ 63620 h 375969"/>
              <a:gd name="connsiteX118" fmla="*/ 146159 w 369526"/>
              <a:gd name="connsiteY118" fmla="*/ 82793 h 375969"/>
              <a:gd name="connsiteX119" fmla="*/ 142927 w 369526"/>
              <a:gd name="connsiteY119" fmla="*/ 84240 h 375969"/>
              <a:gd name="connsiteX120" fmla="*/ 139335 w 369526"/>
              <a:gd name="connsiteY120" fmla="*/ 82793 h 375969"/>
              <a:gd name="connsiteX121" fmla="*/ 139335 w 369526"/>
              <a:gd name="connsiteY121" fmla="*/ 75558 h 375969"/>
              <a:gd name="connsiteX122" fmla="*/ 154777 w 369526"/>
              <a:gd name="connsiteY122" fmla="*/ 53490 h 375969"/>
              <a:gd name="connsiteX123" fmla="*/ 155136 w 369526"/>
              <a:gd name="connsiteY123" fmla="*/ 52405 h 375969"/>
              <a:gd name="connsiteX124" fmla="*/ 155136 w 369526"/>
              <a:gd name="connsiteY124" fmla="*/ 36126 h 375969"/>
              <a:gd name="connsiteX125" fmla="*/ 126767 w 369526"/>
              <a:gd name="connsiteY125" fmla="*/ 10079 h 375969"/>
              <a:gd name="connsiteX126" fmla="*/ 128203 w 369526"/>
              <a:gd name="connsiteY126" fmla="*/ 312 h 375969"/>
              <a:gd name="connsiteX127" fmla="*/ 164832 w 369526"/>
              <a:gd name="connsiteY127" fmla="*/ 33955 h 375969"/>
              <a:gd name="connsiteX128" fmla="*/ 164473 w 369526"/>
              <a:gd name="connsiteY128" fmla="*/ 54214 h 375969"/>
              <a:gd name="connsiteX129" fmla="*/ 165910 w 369526"/>
              <a:gd name="connsiteY129" fmla="*/ 54576 h 375969"/>
              <a:gd name="connsiteX130" fmla="*/ 168423 w 369526"/>
              <a:gd name="connsiteY130" fmla="*/ 53490 h 375969"/>
              <a:gd name="connsiteX131" fmla="*/ 179197 w 369526"/>
              <a:gd name="connsiteY131" fmla="*/ 52767 h 375969"/>
              <a:gd name="connsiteX132" fmla="*/ 195357 w 369526"/>
              <a:gd name="connsiteY132" fmla="*/ 53129 h 375969"/>
              <a:gd name="connsiteX133" fmla="*/ 199666 w 369526"/>
              <a:gd name="connsiteY133" fmla="*/ 58555 h 375969"/>
              <a:gd name="connsiteX134" fmla="*/ 194639 w 369526"/>
              <a:gd name="connsiteY134" fmla="*/ 62896 h 375969"/>
              <a:gd name="connsiteX135" fmla="*/ 179197 w 369526"/>
              <a:gd name="connsiteY135" fmla="*/ 62535 h 375969"/>
              <a:gd name="connsiteX136" fmla="*/ 178838 w 369526"/>
              <a:gd name="connsiteY136" fmla="*/ 62535 h 375969"/>
              <a:gd name="connsiteX137" fmla="*/ 189252 w 369526"/>
              <a:gd name="connsiteY137" fmla="*/ 87496 h 375969"/>
              <a:gd name="connsiteX138" fmla="*/ 155495 w 369526"/>
              <a:gd name="connsiteY138" fmla="*/ 121863 h 375969"/>
              <a:gd name="connsiteX139" fmla="*/ 80082 w 369526"/>
              <a:gd name="connsiteY139" fmla="*/ 121863 h 375969"/>
              <a:gd name="connsiteX140" fmla="*/ 75414 w 369526"/>
              <a:gd name="connsiteY140" fmla="*/ 130184 h 375969"/>
              <a:gd name="connsiteX141" fmla="*/ 70745 w 369526"/>
              <a:gd name="connsiteY141" fmla="*/ 133078 h 375969"/>
              <a:gd name="connsiteX142" fmla="*/ 68591 w 369526"/>
              <a:gd name="connsiteY142" fmla="*/ 132354 h 375969"/>
              <a:gd name="connsiteX143" fmla="*/ 66795 w 369526"/>
              <a:gd name="connsiteY143" fmla="*/ 125481 h 375969"/>
              <a:gd name="connsiteX144" fmla="*/ 68591 w 369526"/>
              <a:gd name="connsiteY144" fmla="*/ 121863 h 375969"/>
              <a:gd name="connsiteX145" fmla="*/ 33756 w 369526"/>
              <a:gd name="connsiteY145" fmla="*/ 121863 h 375969"/>
              <a:gd name="connsiteX146" fmla="*/ 0 w 369526"/>
              <a:gd name="connsiteY146" fmla="*/ 90390 h 375969"/>
              <a:gd name="connsiteX147" fmla="*/ 0 w 369526"/>
              <a:gd name="connsiteY147" fmla="*/ 90028 h 375969"/>
              <a:gd name="connsiteX148" fmla="*/ 0 w 369526"/>
              <a:gd name="connsiteY148" fmla="*/ 88581 h 375969"/>
              <a:gd name="connsiteX149" fmla="*/ 0 w 369526"/>
              <a:gd name="connsiteY149" fmla="*/ 87496 h 375969"/>
              <a:gd name="connsiteX150" fmla="*/ 3591 w 369526"/>
              <a:gd name="connsiteY150" fmla="*/ 72664 h 375969"/>
              <a:gd name="connsiteX151" fmla="*/ 17596 w 369526"/>
              <a:gd name="connsiteY151" fmla="*/ 57108 h 375969"/>
              <a:gd name="connsiteX152" fmla="*/ 24419 w 369526"/>
              <a:gd name="connsiteY152" fmla="*/ 54214 h 375969"/>
              <a:gd name="connsiteX153" fmla="*/ 25138 w 369526"/>
              <a:gd name="connsiteY153" fmla="*/ 53852 h 375969"/>
              <a:gd name="connsiteX154" fmla="*/ 24778 w 369526"/>
              <a:gd name="connsiteY154" fmla="*/ 53129 h 375969"/>
              <a:gd name="connsiteX155" fmla="*/ 67513 w 369526"/>
              <a:gd name="connsiteY155" fmla="*/ 8994 h 375969"/>
              <a:gd name="connsiteX156" fmla="*/ 90137 w 369526"/>
              <a:gd name="connsiteY156" fmla="*/ 15867 h 375969"/>
              <a:gd name="connsiteX157" fmla="*/ 128203 w 369526"/>
              <a:gd name="connsiteY157" fmla="*/ 312 h 3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369526" h="375969">
                <a:moveTo>
                  <a:pt x="260119" y="330680"/>
                </a:moveTo>
                <a:lnTo>
                  <a:pt x="260119" y="342901"/>
                </a:lnTo>
                <a:cubicBezTo>
                  <a:pt x="260119" y="351887"/>
                  <a:pt x="256148" y="360513"/>
                  <a:pt x="249287" y="366264"/>
                </a:cubicBezTo>
                <a:lnTo>
                  <a:pt x="255064" y="366264"/>
                </a:lnTo>
                <a:lnTo>
                  <a:pt x="305976" y="366264"/>
                </a:lnTo>
                <a:cubicBezTo>
                  <a:pt x="299116" y="360513"/>
                  <a:pt x="295144" y="351887"/>
                  <a:pt x="295144" y="342901"/>
                </a:cubicBezTo>
                <a:lnTo>
                  <a:pt x="295144" y="330680"/>
                </a:lnTo>
                <a:close/>
                <a:moveTo>
                  <a:pt x="280021" y="308065"/>
                </a:moveTo>
                <a:cubicBezTo>
                  <a:pt x="282092" y="308065"/>
                  <a:pt x="283817" y="309719"/>
                  <a:pt x="283817" y="311703"/>
                </a:cubicBezTo>
                <a:cubicBezTo>
                  <a:pt x="283817" y="313688"/>
                  <a:pt x="282092" y="315672"/>
                  <a:pt x="280021" y="315672"/>
                </a:cubicBezTo>
                <a:cubicBezTo>
                  <a:pt x="277951" y="315672"/>
                  <a:pt x="276225" y="313688"/>
                  <a:pt x="276225" y="311703"/>
                </a:cubicBezTo>
                <a:cubicBezTo>
                  <a:pt x="276225" y="309719"/>
                  <a:pt x="277951" y="308065"/>
                  <a:pt x="280021" y="308065"/>
                </a:cubicBezTo>
                <a:close/>
                <a:moveTo>
                  <a:pt x="144685" y="306823"/>
                </a:moveTo>
                <a:cubicBezTo>
                  <a:pt x="152717" y="309929"/>
                  <a:pt x="161481" y="311655"/>
                  <a:pt x="169513" y="312345"/>
                </a:cubicBezTo>
                <a:cubicBezTo>
                  <a:pt x="172434" y="312690"/>
                  <a:pt x="174260" y="315106"/>
                  <a:pt x="173895" y="317867"/>
                </a:cubicBezTo>
                <a:cubicBezTo>
                  <a:pt x="173530" y="319937"/>
                  <a:pt x="171704" y="322008"/>
                  <a:pt x="169148" y="322008"/>
                </a:cubicBezTo>
                <a:cubicBezTo>
                  <a:pt x="169148" y="322008"/>
                  <a:pt x="168783" y="322008"/>
                  <a:pt x="168418" y="321663"/>
                </a:cubicBezTo>
                <a:cubicBezTo>
                  <a:pt x="159290" y="320628"/>
                  <a:pt x="150527" y="318902"/>
                  <a:pt x="141764" y="316141"/>
                </a:cubicBezTo>
                <a:cubicBezTo>
                  <a:pt x="139208" y="315106"/>
                  <a:pt x="138112" y="312345"/>
                  <a:pt x="138843" y="309929"/>
                </a:cubicBezTo>
                <a:cubicBezTo>
                  <a:pt x="139573" y="307514"/>
                  <a:pt x="142494" y="306478"/>
                  <a:pt x="144685" y="306823"/>
                </a:cubicBezTo>
                <a:close/>
                <a:moveTo>
                  <a:pt x="195125" y="305520"/>
                </a:moveTo>
                <a:lnTo>
                  <a:pt x="195125" y="318100"/>
                </a:lnTo>
                <a:cubicBezTo>
                  <a:pt x="195125" y="319538"/>
                  <a:pt x="196570" y="320975"/>
                  <a:pt x="198375" y="320975"/>
                </a:cubicBezTo>
                <a:lnTo>
                  <a:pt x="250370" y="320975"/>
                </a:lnTo>
                <a:lnTo>
                  <a:pt x="304893" y="320975"/>
                </a:lnTo>
                <a:lnTo>
                  <a:pt x="356888" y="320975"/>
                </a:lnTo>
                <a:cubicBezTo>
                  <a:pt x="358333" y="320975"/>
                  <a:pt x="359777" y="319538"/>
                  <a:pt x="359777" y="318100"/>
                </a:cubicBezTo>
                <a:lnTo>
                  <a:pt x="359777" y="305520"/>
                </a:lnTo>
                <a:close/>
                <a:moveTo>
                  <a:pt x="89158" y="275338"/>
                </a:moveTo>
                <a:cubicBezTo>
                  <a:pt x="91373" y="273140"/>
                  <a:pt x="94327" y="273140"/>
                  <a:pt x="96173" y="275338"/>
                </a:cubicBezTo>
                <a:cubicBezTo>
                  <a:pt x="102080" y="281566"/>
                  <a:pt x="108725" y="287428"/>
                  <a:pt x="115740" y="292190"/>
                </a:cubicBezTo>
                <a:cubicBezTo>
                  <a:pt x="117955" y="293656"/>
                  <a:pt x="118693" y="296953"/>
                  <a:pt x="117216" y="299151"/>
                </a:cubicBezTo>
                <a:cubicBezTo>
                  <a:pt x="116109" y="300616"/>
                  <a:pt x="114632" y="301349"/>
                  <a:pt x="112786" y="301349"/>
                </a:cubicBezTo>
                <a:cubicBezTo>
                  <a:pt x="112048" y="301349"/>
                  <a:pt x="110940" y="300983"/>
                  <a:pt x="110202" y="300250"/>
                </a:cubicBezTo>
                <a:cubicBezTo>
                  <a:pt x="102449" y="295121"/>
                  <a:pt x="95434" y="288893"/>
                  <a:pt x="89158" y="282299"/>
                </a:cubicBezTo>
                <a:cubicBezTo>
                  <a:pt x="87312" y="280101"/>
                  <a:pt x="87312" y="277170"/>
                  <a:pt x="89158" y="275338"/>
                </a:cubicBezTo>
                <a:close/>
                <a:moveTo>
                  <a:pt x="59476" y="219878"/>
                </a:moveTo>
                <a:cubicBezTo>
                  <a:pt x="61967" y="219165"/>
                  <a:pt x="64814" y="220591"/>
                  <a:pt x="65170" y="223442"/>
                </a:cubicBezTo>
                <a:cubicBezTo>
                  <a:pt x="67305" y="231282"/>
                  <a:pt x="70863" y="239122"/>
                  <a:pt x="74421" y="246963"/>
                </a:cubicBezTo>
                <a:cubicBezTo>
                  <a:pt x="75844" y="249101"/>
                  <a:pt x="74777" y="251952"/>
                  <a:pt x="72286" y="253377"/>
                </a:cubicBezTo>
                <a:cubicBezTo>
                  <a:pt x="71930" y="253734"/>
                  <a:pt x="70863" y="253734"/>
                  <a:pt x="70151" y="253734"/>
                </a:cubicBezTo>
                <a:cubicBezTo>
                  <a:pt x="68728" y="253734"/>
                  <a:pt x="66949" y="253021"/>
                  <a:pt x="66237" y="251239"/>
                </a:cubicBezTo>
                <a:cubicBezTo>
                  <a:pt x="61967" y="243043"/>
                  <a:pt x="58409" y="234489"/>
                  <a:pt x="56274" y="225936"/>
                </a:cubicBezTo>
                <a:cubicBezTo>
                  <a:pt x="55562" y="223442"/>
                  <a:pt x="56986" y="220591"/>
                  <a:pt x="59476" y="219878"/>
                </a:cubicBezTo>
                <a:close/>
                <a:moveTo>
                  <a:pt x="198375" y="214582"/>
                </a:moveTo>
                <a:cubicBezTo>
                  <a:pt x="196570" y="214582"/>
                  <a:pt x="195125" y="215661"/>
                  <a:pt x="195125" y="217458"/>
                </a:cubicBezTo>
                <a:lnTo>
                  <a:pt x="195125" y="295456"/>
                </a:lnTo>
                <a:lnTo>
                  <a:pt x="359777" y="295456"/>
                </a:lnTo>
                <a:lnTo>
                  <a:pt x="359777" y="217458"/>
                </a:lnTo>
                <a:cubicBezTo>
                  <a:pt x="359777" y="215661"/>
                  <a:pt x="358333" y="214582"/>
                  <a:pt x="356888" y="214582"/>
                </a:cubicBezTo>
                <a:close/>
                <a:moveTo>
                  <a:pt x="198375" y="204878"/>
                </a:moveTo>
                <a:lnTo>
                  <a:pt x="356888" y="204878"/>
                </a:lnTo>
                <a:cubicBezTo>
                  <a:pt x="363749" y="204878"/>
                  <a:pt x="369526" y="210629"/>
                  <a:pt x="369526" y="217458"/>
                </a:cubicBezTo>
                <a:lnTo>
                  <a:pt x="369526" y="318100"/>
                </a:lnTo>
                <a:cubicBezTo>
                  <a:pt x="369526" y="324929"/>
                  <a:pt x="363749" y="330680"/>
                  <a:pt x="356888" y="330680"/>
                </a:cubicBezTo>
                <a:lnTo>
                  <a:pt x="304893" y="330680"/>
                </a:lnTo>
                <a:lnTo>
                  <a:pt x="304893" y="342901"/>
                </a:lnTo>
                <a:cubicBezTo>
                  <a:pt x="304893" y="348652"/>
                  <a:pt x="307421" y="354762"/>
                  <a:pt x="312115" y="358357"/>
                </a:cubicBezTo>
                <a:cubicBezTo>
                  <a:pt x="315364" y="360873"/>
                  <a:pt x="316448" y="365545"/>
                  <a:pt x="315003" y="369499"/>
                </a:cubicBezTo>
                <a:cubicBezTo>
                  <a:pt x="313920" y="373453"/>
                  <a:pt x="309948" y="375969"/>
                  <a:pt x="305976" y="375969"/>
                </a:cubicBezTo>
                <a:lnTo>
                  <a:pt x="249287" y="375969"/>
                </a:lnTo>
                <a:cubicBezTo>
                  <a:pt x="244954" y="375969"/>
                  <a:pt x="241343" y="373453"/>
                  <a:pt x="239899" y="369499"/>
                </a:cubicBezTo>
                <a:cubicBezTo>
                  <a:pt x="238455" y="365545"/>
                  <a:pt x="239538" y="360873"/>
                  <a:pt x="242788" y="358357"/>
                </a:cubicBezTo>
                <a:cubicBezTo>
                  <a:pt x="247482" y="354762"/>
                  <a:pt x="250370" y="348652"/>
                  <a:pt x="250370" y="342901"/>
                </a:cubicBezTo>
                <a:lnTo>
                  <a:pt x="250370" y="330680"/>
                </a:lnTo>
                <a:lnTo>
                  <a:pt x="198375" y="330680"/>
                </a:lnTo>
                <a:cubicBezTo>
                  <a:pt x="191153" y="330680"/>
                  <a:pt x="185737" y="324929"/>
                  <a:pt x="185737" y="318100"/>
                </a:cubicBezTo>
                <a:lnTo>
                  <a:pt x="185737" y="217458"/>
                </a:lnTo>
                <a:cubicBezTo>
                  <a:pt x="185737" y="210629"/>
                  <a:pt x="191153" y="204878"/>
                  <a:pt x="198375" y="204878"/>
                </a:cubicBezTo>
                <a:close/>
                <a:moveTo>
                  <a:pt x="60733" y="156397"/>
                </a:moveTo>
                <a:cubicBezTo>
                  <a:pt x="63273" y="157130"/>
                  <a:pt x="64724" y="159695"/>
                  <a:pt x="64362" y="162259"/>
                </a:cubicBezTo>
                <a:cubicBezTo>
                  <a:pt x="62547" y="170685"/>
                  <a:pt x="61822" y="179477"/>
                  <a:pt x="61822" y="188270"/>
                </a:cubicBezTo>
                <a:cubicBezTo>
                  <a:pt x="61822" y="190834"/>
                  <a:pt x="59644" y="193398"/>
                  <a:pt x="56742" y="193398"/>
                </a:cubicBezTo>
                <a:cubicBezTo>
                  <a:pt x="54201" y="193398"/>
                  <a:pt x="52387" y="190834"/>
                  <a:pt x="52387" y="188270"/>
                </a:cubicBezTo>
                <a:cubicBezTo>
                  <a:pt x="52387" y="178745"/>
                  <a:pt x="53112" y="169586"/>
                  <a:pt x="54927" y="160061"/>
                </a:cubicBezTo>
                <a:cubicBezTo>
                  <a:pt x="55290" y="157496"/>
                  <a:pt x="58193" y="155665"/>
                  <a:pt x="60733" y="156397"/>
                </a:cubicBezTo>
                <a:close/>
                <a:moveTo>
                  <a:pt x="309086" y="151628"/>
                </a:moveTo>
                <a:cubicBezTo>
                  <a:pt x="311229" y="150903"/>
                  <a:pt x="314087" y="152717"/>
                  <a:pt x="314801" y="155257"/>
                </a:cubicBezTo>
                <a:cubicBezTo>
                  <a:pt x="316944" y="164328"/>
                  <a:pt x="318016" y="173400"/>
                  <a:pt x="318373" y="182834"/>
                </a:cubicBezTo>
                <a:lnTo>
                  <a:pt x="318730" y="183197"/>
                </a:lnTo>
                <a:cubicBezTo>
                  <a:pt x="318730" y="186100"/>
                  <a:pt x="316587" y="188277"/>
                  <a:pt x="313730" y="188640"/>
                </a:cubicBezTo>
                <a:cubicBezTo>
                  <a:pt x="311229" y="188640"/>
                  <a:pt x="309086" y="186463"/>
                  <a:pt x="309086" y="183560"/>
                </a:cubicBezTo>
                <a:lnTo>
                  <a:pt x="309086" y="183197"/>
                </a:lnTo>
                <a:cubicBezTo>
                  <a:pt x="308372" y="174488"/>
                  <a:pt x="307300" y="165780"/>
                  <a:pt x="305515" y="157797"/>
                </a:cubicBezTo>
                <a:cubicBezTo>
                  <a:pt x="304800" y="154894"/>
                  <a:pt x="306229" y="152354"/>
                  <a:pt x="309086" y="151628"/>
                </a:cubicBezTo>
                <a:close/>
                <a:moveTo>
                  <a:pt x="278413" y="97104"/>
                </a:moveTo>
                <a:cubicBezTo>
                  <a:pt x="280237" y="95340"/>
                  <a:pt x="283519" y="95693"/>
                  <a:pt x="285342" y="97456"/>
                </a:cubicBezTo>
                <a:cubicBezTo>
                  <a:pt x="291542" y="104159"/>
                  <a:pt x="297013" y="111920"/>
                  <a:pt x="301389" y="119681"/>
                </a:cubicBezTo>
                <a:cubicBezTo>
                  <a:pt x="302848" y="121798"/>
                  <a:pt x="302118" y="124620"/>
                  <a:pt x="299565" y="126031"/>
                </a:cubicBezTo>
                <a:cubicBezTo>
                  <a:pt x="298836" y="126384"/>
                  <a:pt x="298107" y="126737"/>
                  <a:pt x="297013" y="126737"/>
                </a:cubicBezTo>
                <a:cubicBezTo>
                  <a:pt x="295554" y="126737"/>
                  <a:pt x="293730" y="125679"/>
                  <a:pt x="293001" y="124268"/>
                </a:cubicBezTo>
                <a:cubicBezTo>
                  <a:pt x="288625" y="116859"/>
                  <a:pt x="283884" y="110156"/>
                  <a:pt x="278049" y="104159"/>
                </a:cubicBezTo>
                <a:cubicBezTo>
                  <a:pt x="276225" y="102043"/>
                  <a:pt x="276225" y="98868"/>
                  <a:pt x="278413" y="97104"/>
                </a:cubicBezTo>
                <a:close/>
                <a:moveTo>
                  <a:pt x="232626" y="61531"/>
                </a:moveTo>
                <a:cubicBezTo>
                  <a:pt x="241268" y="64880"/>
                  <a:pt x="249189" y="68973"/>
                  <a:pt x="257110" y="74182"/>
                </a:cubicBezTo>
                <a:cubicBezTo>
                  <a:pt x="259270" y="75670"/>
                  <a:pt x="259990" y="79019"/>
                  <a:pt x="258550" y="81251"/>
                </a:cubicBezTo>
                <a:cubicBezTo>
                  <a:pt x="257470" y="82739"/>
                  <a:pt x="256030" y="83856"/>
                  <a:pt x="254589" y="83856"/>
                </a:cubicBezTo>
                <a:cubicBezTo>
                  <a:pt x="253509" y="83856"/>
                  <a:pt x="252789" y="83484"/>
                  <a:pt x="251709" y="82739"/>
                </a:cubicBezTo>
                <a:cubicBezTo>
                  <a:pt x="244508" y="78275"/>
                  <a:pt x="237307" y="74182"/>
                  <a:pt x="229386" y="70833"/>
                </a:cubicBezTo>
                <a:cubicBezTo>
                  <a:pt x="226865" y="70089"/>
                  <a:pt x="225425" y="67112"/>
                  <a:pt x="226505" y="64508"/>
                </a:cubicBezTo>
                <a:cubicBezTo>
                  <a:pt x="227586" y="61903"/>
                  <a:pt x="230466" y="60415"/>
                  <a:pt x="232626" y="61531"/>
                </a:cubicBezTo>
                <a:close/>
                <a:moveTo>
                  <a:pt x="126767" y="10079"/>
                </a:moveTo>
                <a:cubicBezTo>
                  <a:pt x="115634" y="8632"/>
                  <a:pt x="104502" y="13335"/>
                  <a:pt x="97319" y="22379"/>
                </a:cubicBezTo>
                <a:cubicBezTo>
                  <a:pt x="94447" y="25997"/>
                  <a:pt x="89060" y="27082"/>
                  <a:pt x="85469" y="24188"/>
                </a:cubicBezTo>
                <a:cubicBezTo>
                  <a:pt x="80082" y="20932"/>
                  <a:pt x="73977" y="19123"/>
                  <a:pt x="67513" y="19123"/>
                </a:cubicBezTo>
                <a:cubicBezTo>
                  <a:pt x="49198" y="19123"/>
                  <a:pt x="34474" y="34317"/>
                  <a:pt x="34474" y="53129"/>
                </a:cubicBezTo>
                <a:lnTo>
                  <a:pt x="34474" y="53490"/>
                </a:lnTo>
                <a:cubicBezTo>
                  <a:pt x="54226" y="52767"/>
                  <a:pt x="63563" y="62535"/>
                  <a:pt x="63922" y="63258"/>
                </a:cubicBezTo>
                <a:cubicBezTo>
                  <a:pt x="65718" y="65429"/>
                  <a:pt x="65718" y="68323"/>
                  <a:pt x="63922" y="70132"/>
                </a:cubicBezTo>
                <a:cubicBezTo>
                  <a:pt x="61767" y="71940"/>
                  <a:pt x="58895" y="71940"/>
                  <a:pt x="57099" y="69770"/>
                </a:cubicBezTo>
                <a:cubicBezTo>
                  <a:pt x="56740" y="69408"/>
                  <a:pt x="48839" y="61449"/>
                  <a:pt x="30165" y="63620"/>
                </a:cubicBezTo>
                <a:cubicBezTo>
                  <a:pt x="26933" y="63982"/>
                  <a:pt x="24060" y="65067"/>
                  <a:pt x="21906" y="66152"/>
                </a:cubicBezTo>
                <a:cubicBezTo>
                  <a:pt x="17237" y="68684"/>
                  <a:pt x="13646" y="73026"/>
                  <a:pt x="11491" y="78090"/>
                </a:cubicBezTo>
                <a:cubicBezTo>
                  <a:pt x="10055" y="82431"/>
                  <a:pt x="9696" y="86773"/>
                  <a:pt x="9696" y="88581"/>
                </a:cubicBezTo>
                <a:cubicBezTo>
                  <a:pt x="10414" y="101605"/>
                  <a:pt x="20828" y="112096"/>
                  <a:pt x="33756" y="112096"/>
                </a:cubicBezTo>
                <a:lnTo>
                  <a:pt x="155495" y="112096"/>
                </a:lnTo>
                <a:cubicBezTo>
                  <a:pt x="168783" y="112096"/>
                  <a:pt x="179197" y="101243"/>
                  <a:pt x="179197" y="87496"/>
                </a:cubicBezTo>
                <a:cubicBezTo>
                  <a:pt x="179197" y="75920"/>
                  <a:pt x="172015" y="66152"/>
                  <a:pt x="161241" y="63620"/>
                </a:cubicBezTo>
                <a:cubicBezTo>
                  <a:pt x="158368" y="67961"/>
                  <a:pt x="154059" y="74473"/>
                  <a:pt x="146159" y="82793"/>
                </a:cubicBezTo>
                <a:cubicBezTo>
                  <a:pt x="145440" y="83517"/>
                  <a:pt x="144004" y="84240"/>
                  <a:pt x="142927" y="84240"/>
                </a:cubicBezTo>
                <a:cubicBezTo>
                  <a:pt x="141490" y="84240"/>
                  <a:pt x="140413" y="83517"/>
                  <a:pt x="139335" y="82793"/>
                </a:cubicBezTo>
                <a:cubicBezTo>
                  <a:pt x="137540" y="80623"/>
                  <a:pt x="137540" y="77728"/>
                  <a:pt x="139335" y="75558"/>
                </a:cubicBezTo>
                <a:cubicBezTo>
                  <a:pt x="153341" y="61449"/>
                  <a:pt x="154777" y="53852"/>
                  <a:pt x="154777" y="53490"/>
                </a:cubicBezTo>
                <a:cubicBezTo>
                  <a:pt x="154777" y="53129"/>
                  <a:pt x="154777" y="52767"/>
                  <a:pt x="155136" y="52405"/>
                </a:cubicBezTo>
                <a:cubicBezTo>
                  <a:pt x="156214" y="46979"/>
                  <a:pt x="156214" y="41552"/>
                  <a:pt x="155136" y="36126"/>
                </a:cubicBezTo>
                <a:cubicBezTo>
                  <a:pt x="152263" y="22741"/>
                  <a:pt x="140413" y="11526"/>
                  <a:pt x="126767" y="10079"/>
                </a:cubicBezTo>
                <a:close/>
                <a:moveTo>
                  <a:pt x="128203" y="312"/>
                </a:moveTo>
                <a:cubicBezTo>
                  <a:pt x="146159" y="2482"/>
                  <a:pt x="160882" y="15867"/>
                  <a:pt x="164832" y="33955"/>
                </a:cubicBezTo>
                <a:cubicBezTo>
                  <a:pt x="165910" y="40829"/>
                  <a:pt x="165910" y="47702"/>
                  <a:pt x="164473" y="54214"/>
                </a:cubicBezTo>
                <a:cubicBezTo>
                  <a:pt x="164832" y="54576"/>
                  <a:pt x="165191" y="54576"/>
                  <a:pt x="165910" y="54576"/>
                </a:cubicBezTo>
                <a:cubicBezTo>
                  <a:pt x="166628" y="54214"/>
                  <a:pt x="167346" y="53852"/>
                  <a:pt x="168423" y="53490"/>
                </a:cubicBezTo>
                <a:cubicBezTo>
                  <a:pt x="172015" y="53129"/>
                  <a:pt x="175247" y="52767"/>
                  <a:pt x="179197" y="52767"/>
                </a:cubicBezTo>
                <a:cubicBezTo>
                  <a:pt x="184583" y="52405"/>
                  <a:pt x="189970" y="52767"/>
                  <a:pt x="195357" y="53129"/>
                </a:cubicBezTo>
                <a:cubicBezTo>
                  <a:pt x="197871" y="53129"/>
                  <a:pt x="199666" y="55661"/>
                  <a:pt x="199666" y="58555"/>
                </a:cubicBezTo>
                <a:cubicBezTo>
                  <a:pt x="199307" y="61087"/>
                  <a:pt x="197152" y="62896"/>
                  <a:pt x="194639" y="62896"/>
                </a:cubicBezTo>
                <a:cubicBezTo>
                  <a:pt x="189611" y="62535"/>
                  <a:pt x="184583" y="62535"/>
                  <a:pt x="179197" y="62535"/>
                </a:cubicBezTo>
                <a:lnTo>
                  <a:pt x="178838" y="62535"/>
                </a:lnTo>
                <a:cubicBezTo>
                  <a:pt x="185302" y="69046"/>
                  <a:pt x="189252" y="77728"/>
                  <a:pt x="189252" y="87496"/>
                </a:cubicBezTo>
                <a:cubicBezTo>
                  <a:pt x="189252" y="106308"/>
                  <a:pt x="173810" y="121863"/>
                  <a:pt x="155495" y="121863"/>
                </a:cubicBezTo>
                <a:lnTo>
                  <a:pt x="80082" y="121863"/>
                </a:lnTo>
                <a:cubicBezTo>
                  <a:pt x="78287" y="124757"/>
                  <a:pt x="76491" y="127290"/>
                  <a:pt x="75414" y="130184"/>
                </a:cubicBezTo>
                <a:cubicBezTo>
                  <a:pt x="74336" y="131993"/>
                  <a:pt x="72541" y="133078"/>
                  <a:pt x="70745" y="133078"/>
                </a:cubicBezTo>
                <a:cubicBezTo>
                  <a:pt x="70386" y="133078"/>
                  <a:pt x="69309" y="132716"/>
                  <a:pt x="68591" y="132354"/>
                </a:cubicBezTo>
                <a:cubicBezTo>
                  <a:pt x="66077" y="130907"/>
                  <a:pt x="65359" y="128013"/>
                  <a:pt x="66795" y="125481"/>
                </a:cubicBezTo>
                <a:cubicBezTo>
                  <a:pt x="67513" y="124396"/>
                  <a:pt x="67872" y="123310"/>
                  <a:pt x="68591" y="121863"/>
                </a:cubicBezTo>
                <a:lnTo>
                  <a:pt x="33756" y="121863"/>
                </a:lnTo>
                <a:cubicBezTo>
                  <a:pt x="16160" y="121863"/>
                  <a:pt x="1795" y="108116"/>
                  <a:pt x="0" y="90390"/>
                </a:cubicBezTo>
                <a:cubicBezTo>
                  <a:pt x="0" y="90028"/>
                  <a:pt x="0" y="90028"/>
                  <a:pt x="0" y="90028"/>
                </a:cubicBezTo>
                <a:cubicBezTo>
                  <a:pt x="0" y="89305"/>
                  <a:pt x="0" y="89305"/>
                  <a:pt x="0" y="88581"/>
                </a:cubicBezTo>
                <a:cubicBezTo>
                  <a:pt x="0" y="88220"/>
                  <a:pt x="0" y="87858"/>
                  <a:pt x="0" y="87496"/>
                </a:cubicBezTo>
                <a:cubicBezTo>
                  <a:pt x="0" y="82070"/>
                  <a:pt x="1436" y="77367"/>
                  <a:pt x="3591" y="72664"/>
                </a:cubicBezTo>
                <a:cubicBezTo>
                  <a:pt x="6105" y="66514"/>
                  <a:pt x="10414" y="60726"/>
                  <a:pt x="17596" y="57108"/>
                </a:cubicBezTo>
                <a:cubicBezTo>
                  <a:pt x="20110" y="56023"/>
                  <a:pt x="22265" y="54938"/>
                  <a:pt x="24419" y="54214"/>
                </a:cubicBezTo>
                <a:cubicBezTo>
                  <a:pt x="24778" y="54214"/>
                  <a:pt x="24778" y="54214"/>
                  <a:pt x="25138" y="53852"/>
                </a:cubicBezTo>
                <a:lnTo>
                  <a:pt x="24778" y="53129"/>
                </a:lnTo>
                <a:cubicBezTo>
                  <a:pt x="24778" y="28891"/>
                  <a:pt x="44170" y="8994"/>
                  <a:pt x="67513" y="8994"/>
                </a:cubicBezTo>
                <a:cubicBezTo>
                  <a:pt x="75414" y="8994"/>
                  <a:pt x="83314" y="11526"/>
                  <a:pt x="90137" y="15867"/>
                </a:cubicBezTo>
                <a:cubicBezTo>
                  <a:pt x="99474" y="4653"/>
                  <a:pt x="113479" y="-1497"/>
                  <a:pt x="128203" y="312"/>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599" dirty="0">
              <a:latin typeface="Poppins" pitchFamily="2" charset="77"/>
            </a:endParaRPr>
          </a:p>
        </p:txBody>
      </p:sp>
      <p:sp>
        <p:nvSpPr>
          <p:cNvPr id="34" name="Freeform 33">
            <a:extLst>
              <a:ext uri="{FF2B5EF4-FFF2-40B4-BE49-F238E27FC236}">
                <a16:creationId xmlns:a16="http://schemas.microsoft.com/office/drawing/2014/main" id="{AF8486D8-7773-E380-0E49-D213AC3FE3E9}"/>
              </a:ext>
            </a:extLst>
          </p:cNvPr>
          <p:cNvSpPr>
            <a:spLocks noChangeArrowheads="1"/>
          </p:cNvSpPr>
          <p:nvPr/>
        </p:nvSpPr>
        <p:spPr bwMode="auto">
          <a:xfrm>
            <a:off x="3194332" y="2930183"/>
            <a:ext cx="1350570" cy="1070317"/>
          </a:xfrm>
          <a:custGeom>
            <a:avLst/>
            <a:gdLst>
              <a:gd name="connsiteX0" fmla="*/ 260290 w 1350570"/>
              <a:gd name="connsiteY0" fmla="*/ 706754 h 1070317"/>
              <a:gd name="connsiteX1" fmla="*/ 138006 w 1350570"/>
              <a:gd name="connsiteY1" fmla="*/ 745179 h 1070317"/>
              <a:gd name="connsiteX2" fmla="*/ 351056 w 1350570"/>
              <a:gd name="connsiteY2" fmla="*/ 870371 h 1070317"/>
              <a:gd name="connsiteX3" fmla="*/ 260290 w 1350570"/>
              <a:gd name="connsiteY3" fmla="*/ 706754 h 1070317"/>
              <a:gd name="connsiteX4" fmla="*/ 462220 w 1350570"/>
              <a:gd name="connsiteY4" fmla="*/ 690265 h 1070317"/>
              <a:gd name="connsiteX5" fmla="*/ 462220 w 1350570"/>
              <a:gd name="connsiteY5" fmla="*/ 760452 h 1070317"/>
              <a:gd name="connsiteX6" fmla="*/ 499614 w 1350570"/>
              <a:gd name="connsiteY6" fmla="*/ 742905 h 1070317"/>
              <a:gd name="connsiteX7" fmla="*/ 506852 w 1350570"/>
              <a:gd name="connsiteY7" fmla="*/ 734132 h 1070317"/>
              <a:gd name="connsiteX8" fmla="*/ 506852 w 1350570"/>
              <a:gd name="connsiteY8" fmla="*/ 729119 h 1070317"/>
              <a:gd name="connsiteX9" fmla="*/ 510472 w 1350570"/>
              <a:gd name="connsiteY9" fmla="*/ 692772 h 1070317"/>
              <a:gd name="connsiteX10" fmla="*/ 462220 w 1350570"/>
              <a:gd name="connsiteY10" fmla="*/ 690265 h 1070317"/>
              <a:gd name="connsiteX11" fmla="*/ 428024 w 1350570"/>
              <a:gd name="connsiteY11" fmla="*/ 690265 h 1070317"/>
              <a:gd name="connsiteX12" fmla="*/ 291872 w 1350570"/>
              <a:gd name="connsiteY12" fmla="*/ 703984 h 1070317"/>
              <a:gd name="connsiteX13" fmla="*/ 385094 w 1350570"/>
              <a:gd name="connsiteY13" fmla="*/ 864865 h 1070317"/>
              <a:gd name="connsiteX14" fmla="*/ 428024 w 1350570"/>
              <a:gd name="connsiteY14" fmla="*/ 787542 h 1070317"/>
              <a:gd name="connsiteX15" fmla="*/ 1038232 w 1350570"/>
              <a:gd name="connsiteY15" fmla="*/ 494405 h 1070317"/>
              <a:gd name="connsiteX16" fmla="*/ 875738 w 1350570"/>
              <a:gd name="connsiteY16" fmla="*/ 560297 h 1070317"/>
              <a:gd name="connsiteX17" fmla="*/ 824490 w 1350570"/>
              <a:gd name="connsiteY17" fmla="*/ 567757 h 1070317"/>
              <a:gd name="connsiteX18" fmla="*/ 728244 w 1350570"/>
              <a:gd name="connsiteY18" fmla="*/ 539162 h 1070317"/>
              <a:gd name="connsiteX19" fmla="*/ 547002 w 1350570"/>
              <a:gd name="connsiteY19" fmla="*/ 723164 h 1070317"/>
              <a:gd name="connsiteX20" fmla="*/ 547002 w 1350570"/>
              <a:gd name="connsiteY20" fmla="*/ 726894 h 1070317"/>
              <a:gd name="connsiteX21" fmla="*/ 514504 w 1350570"/>
              <a:gd name="connsiteY21" fmla="*/ 770408 h 1070317"/>
              <a:gd name="connsiteX22" fmla="*/ 418258 w 1350570"/>
              <a:gd name="connsiteY22" fmla="*/ 899706 h 1070317"/>
              <a:gd name="connsiteX23" fmla="*/ 550752 w 1350570"/>
              <a:gd name="connsiteY23" fmla="*/ 1035221 h 1070317"/>
              <a:gd name="connsiteX24" fmla="*/ 1185726 w 1350570"/>
              <a:gd name="connsiteY24" fmla="*/ 1035221 h 1070317"/>
              <a:gd name="connsiteX25" fmla="*/ 1318220 w 1350570"/>
              <a:gd name="connsiteY25" fmla="*/ 899706 h 1070317"/>
              <a:gd name="connsiteX26" fmla="*/ 1215724 w 1350570"/>
              <a:gd name="connsiteY26" fmla="*/ 769164 h 1070317"/>
              <a:gd name="connsiteX27" fmla="*/ 1194476 w 1350570"/>
              <a:gd name="connsiteY27" fmla="*/ 751759 h 1070317"/>
              <a:gd name="connsiteX28" fmla="*/ 1189476 w 1350570"/>
              <a:gd name="connsiteY28" fmla="*/ 724407 h 1070317"/>
              <a:gd name="connsiteX29" fmla="*/ 1191976 w 1350570"/>
              <a:gd name="connsiteY29" fmla="*/ 634893 h 1070317"/>
              <a:gd name="connsiteX30" fmla="*/ 1038232 w 1350570"/>
              <a:gd name="connsiteY30" fmla="*/ 494405 h 1070317"/>
              <a:gd name="connsiteX31" fmla="*/ 462220 w 1350570"/>
              <a:gd name="connsiteY31" fmla="*/ 475956 h 1070317"/>
              <a:gd name="connsiteX32" fmla="*/ 462220 w 1350570"/>
              <a:gd name="connsiteY32" fmla="*/ 653517 h 1070317"/>
              <a:gd name="connsiteX33" fmla="*/ 520412 w 1350570"/>
              <a:gd name="connsiteY33" fmla="*/ 656036 h 1070317"/>
              <a:gd name="connsiteX34" fmla="*/ 633006 w 1350570"/>
              <a:gd name="connsiteY34" fmla="*/ 528847 h 1070317"/>
              <a:gd name="connsiteX35" fmla="*/ 636800 w 1350570"/>
              <a:gd name="connsiteY35" fmla="*/ 475956 h 1070317"/>
              <a:gd name="connsiteX36" fmla="*/ 33596 w 1350570"/>
              <a:gd name="connsiteY36" fmla="*/ 475956 h 1070317"/>
              <a:gd name="connsiteX37" fmla="*/ 119282 w 1350570"/>
              <a:gd name="connsiteY37" fmla="*/ 716504 h 1070317"/>
              <a:gd name="connsiteX38" fmla="*/ 252162 w 1350570"/>
              <a:gd name="connsiteY38" fmla="*/ 671867 h 1070317"/>
              <a:gd name="connsiteX39" fmla="*/ 226082 w 1350570"/>
              <a:gd name="connsiteY39" fmla="*/ 475956 h 1070317"/>
              <a:gd name="connsiteX40" fmla="*/ 666796 w 1350570"/>
              <a:gd name="connsiteY40" fmla="*/ 475954 h 1070317"/>
              <a:gd name="connsiteX41" fmla="*/ 665544 w 1350570"/>
              <a:gd name="connsiteY41" fmla="*/ 513810 h 1070317"/>
              <a:gd name="connsiteX42" fmla="*/ 723140 w 1350570"/>
              <a:gd name="connsiteY42" fmla="*/ 506483 h 1070317"/>
              <a:gd name="connsiteX43" fmla="*/ 837078 w 1350570"/>
              <a:gd name="connsiteY43" fmla="*/ 539455 h 1070317"/>
              <a:gd name="connsiteX44" fmla="*/ 845842 w 1350570"/>
              <a:gd name="connsiteY44" fmla="*/ 538234 h 1070317"/>
              <a:gd name="connsiteX45" fmla="*/ 857110 w 1350570"/>
              <a:gd name="connsiteY45" fmla="*/ 524801 h 1070317"/>
              <a:gd name="connsiteX46" fmla="*/ 862118 w 1350570"/>
              <a:gd name="connsiteY46" fmla="*/ 475954 h 1070317"/>
              <a:gd name="connsiteX47" fmla="*/ 258900 w 1350570"/>
              <a:gd name="connsiteY47" fmla="*/ 475954 h 1070317"/>
              <a:gd name="connsiteX48" fmla="*/ 282352 w 1350570"/>
              <a:gd name="connsiteY48" fmla="*/ 667036 h 1070317"/>
              <a:gd name="connsiteX49" fmla="*/ 428012 w 1350570"/>
              <a:gd name="connsiteY49" fmla="*/ 652050 h 1070317"/>
              <a:gd name="connsiteX50" fmla="*/ 428012 w 1350570"/>
              <a:gd name="connsiteY50" fmla="*/ 475954 h 1070317"/>
              <a:gd name="connsiteX51" fmla="*/ 610234 w 1350570"/>
              <a:gd name="connsiteY51" fmla="*/ 256146 h 1070317"/>
              <a:gd name="connsiteX52" fmla="*/ 462220 w 1350570"/>
              <a:gd name="connsiteY52" fmla="*/ 271231 h 1070317"/>
              <a:gd name="connsiteX53" fmla="*/ 462220 w 1350570"/>
              <a:gd name="connsiteY53" fmla="*/ 447220 h 1070317"/>
              <a:gd name="connsiteX54" fmla="*/ 636800 w 1350570"/>
              <a:gd name="connsiteY54" fmla="*/ 447220 h 1070317"/>
              <a:gd name="connsiteX55" fmla="*/ 610234 w 1350570"/>
              <a:gd name="connsiteY55" fmla="*/ 256146 h 1070317"/>
              <a:gd name="connsiteX56" fmla="*/ 282352 w 1350570"/>
              <a:gd name="connsiteY56" fmla="*/ 256146 h 1070317"/>
              <a:gd name="connsiteX57" fmla="*/ 258900 w 1350570"/>
              <a:gd name="connsiteY57" fmla="*/ 447220 h 1070317"/>
              <a:gd name="connsiteX58" fmla="*/ 428012 w 1350570"/>
              <a:gd name="connsiteY58" fmla="*/ 447220 h 1070317"/>
              <a:gd name="connsiteX59" fmla="*/ 428012 w 1350570"/>
              <a:gd name="connsiteY59" fmla="*/ 271231 h 1070317"/>
              <a:gd name="connsiteX60" fmla="*/ 282352 w 1350570"/>
              <a:gd name="connsiteY60" fmla="*/ 256146 h 1070317"/>
              <a:gd name="connsiteX61" fmla="*/ 776440 w 1350570"/>
              <a:gd name="connsiteY61" fmla="*/ 201195 h 1070317"/>
              <a:gd name="connsiteX62" fmla="*/ 643562 w 1350570"/>
              <a:gd name="connsiteY62" fmla="*/ 244593 h 1070317"/>
              <a:gd name="connsiteX63" fmla="*/ 668400 w 1350570"/>
              <a:gd name="connsiteY63" fmla="*/ 441743 h 1070317"/>
              <a:gd name="connsiteX64" fmla="*/ 862128 w 1350570"/>
              <a:gd name="connsiteY64" fmla="*/ 441743 h 1070317"/>
              <a:gd name="connsiteX65" fmla="*/ 776440 w 1350570"/>
              <a:gd name="connsiteY65" fmla="*/ 201195 h 1070317"/>
              <a:gd name="connsiteX66" fmla="*/ 119282 w 1350570"/>
              <a:gd name="connsiteY66" fmla="*/ 201195 h 1070317"/>
              <a:gd name="connsiteX67" fmla="*/ 33596 w 1350570"/>
              <a:gd name="connsiteY67" fmla="*/ 441743 h 1070317"/>
              <a:gd name="connsiteX68" fmla="*/ 226082 w 1350570"/>
              <a:gd name="connsiteY68" fmla="*/ 441743 h 1070317"/>
              <a:gd name="connsiteX69" fmla="*/ 252162 w 1350570"/>
              <a:gd name="connsiteY69" fmla="*/ 244593 h 1070317"/>
              <a:gd name="connsiteX70" fmla="*/ 119282 w 1350570"/>
              <a:gd name="connsiteY70" fmla="*/ 201195 h 1070317"/>
              <a:gd name="connsiteX71" fmla="*/ 544652 w 1350570"/>
              <a:gd name="connsiteY71" fmla="*/ 47332 h 1070317"/>
              <a:gd name="connsiteX72" fmla="*/ 633614 w 1350570"/>
              <a:gd name="connsiteY72" fmla="*/ 210948 h 1070317"/>
              <a:gd name="connsiteX73" fmla="*/ 752232 w 1350570"/>
              <a:gd name="connsiteY73" fmla="*/ 173763 h 1070317"/>
              <a:gd name="connsiteX74" fmla="*/ 544652 w 1350570"/>
              <a:gd name="connsiteY74" fmla="*/ 47332 h 1070317"/>
              <a:gd name="connsiteX75" fmla="*/ 351056 w 1350570"/>
              <a:gd name="connsiteY75" fmla="*/ 47332 h 1070317"/>
              <a:gd name="connsiteX76" fmla="*/ 138006 w 1350570"/>
              <a:gd name="connsiteY76" fmla="*/ 173763 h 1070317"/>
              <a:gd name="connsiteX77" fmla="*/ 260290 w 1350570"/>
              <a:gd name="connsiteY77" fmla="*/ 210948 h 1070317"/>
              <a:gd name="connsiteX78" fmla="*/ 351056 w 1350570"/>
              <a:gd name="connsiteY78" fmla="*/ 47332 h 1070317"/>
              <a:gd name="connsiteX79" fmla="*/ 462220 w 1350570"/>
              <a:gd name="connsiteY79" fmla="*/ 36339 h 1070317"/>
              <a:gd name="connsiteX80" fmla="*/ 462220 w 1350570"/>
              <a:gd name="connsiteY80" fmla="*/ 232914 h 1070317"/>
              <a:gd name="connsiteX81" fmla="*/ 598364 w 1350570"/>
              <a:gd name="connsiteY81" fmla="*/ 219141 h 1070317"/>
              <a:gd name="connsiteX82" fmla="*/ 462220 w 1350570"/>
              <a:gd name="connsiteY82" fmla="*/ 36339 h 1070317"/>
              <a:gd name="connsiteX83" fmla="*/ 428024 w 1350570"/>
              <a:gd name="connsiteY83" fmla="*/ 36339 h 1070317"/>
              <a:gd name="connsiteX84" fmla="*/ 291872 w 1350570"/>
              <a:gd name="connsiteY84" fmla="*/ 219141 h 1070317"/>
              <a:gd name="connsiteX85" fmla="*/ 428024 w 1350570"/>
              <a:gd name="connsiteY85" fmla="*/ 232914 h 1070317"/>
              <a:gd name="connsiteX86" fmla="*/ 450190 w 1350570"/>
              <a:gd name="connsiteY86" fmla="*/ 0 h 1070317"/>
              <a:gd name="connsiteX87" fmla="*/ 900380 w 1350570"/>
              <a:gd name="connsiteY87" fmla="*/ 457996 h 1070317"/>
              <a:gd name="connsiteX88" fmla="*/ 899132 w 1350570"/>
              <a:gd name="connsiteY88" fmla="*/ 494088 h 1070317"/>
              <a:gd name="connsiteX89" fmla="*/ 1041298 w 1350570"/>
              <a:gd name="connsiteY89" fmla="*/ 460485 h 1070317"/>
              <a:gd name="connsiteX90" fmla="*/ 1223370 w 1350570"/>
              <a:gd name="connsiteY90" fmla="*/ 627255 h 1070317"/>
              <a:gd name="connsiteX91" fmla="*/ 1220876 w 1350570"/>
              <a:gd name="connsiteY91" fmla="*/ 733043 h 1070317"/>
              <a:gd name="connsiteX92" fmla="*/ 1220876 w 1350570"/>
              <a:gd name="connsiteY92" fmla="*/ 735532 h 1070317"/>
              <a:gd name="connsiteX93" fmla="*/ 1222122 w 1350570"/>
              <a:gd name="connsiteY93" fmla="*/ 735532 h 1070317"/>
              <a:gd name="connsiteX94" fmla="*/ 1350570 w 1350570"/>
              <a:gd name="connsiteY94" fmla="*/ 899813 h 1070317"/>
              <a:gd name="connsiteX95" fmla="*/ 1184710 w 1350570"/>
              <a:gd name="connsiteY95" fmla="*/ 1070317 h 1070317"/>
              <a:gd name="connsiteX96" fmla="*/ 551202 w 1350570"/>
              <a:gd name="connsiteY96" fmla="*/ 1070317 h 1070317"/>
              <a:gd name="connsiteX97" fmla="*/ 385342 w 1350570"/>
              <a:gd name="connsiteY97" fmla="*/ 911014 h 1070317"/>
              <a:gd name="connsiteX98" fmla="*/ 0 w 1350570"/>
              <a:gd name="connsiteY98" fmla="*/ 457996 h 1070317"/>
              <a:gd name="connsiteX99" fmla="*/ 450190 w 1350570"/>
              <a:gd name="connsiteY99" fmla="*/ 0 h 107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350570" h="1070317">
                <a:moveTo>
                  <a:pt x="260290" y="706754"/>
                </a:moveTo>
                <a:cubicBezTo>
                  <a:pt x="217428" y="716670"/>
                  <a:pt x="177086" y="729066"/>
                  <a:pt x="138006" y="745179"/>
                </a:cubicBezTo>
                <a:cubicBezTo>
                  <a:pt x="194736" y="805916"/>
                  <a:pt x="267854" y="850538"/>
                  <a:pt x="351056" y="870371"/>
                </a:cubicBezTo>
                <a:cubicBezTo>
                  <a:pt x="313236" y="833185"/>
                  <a:pt x="281720" y="776167"/>
                  <a:pt x="260290" y="706754"/>
                </a:cubicBezTo>
                <a:close/>
                <a:moveTo>
                  <a:pt x="462220" y="690265"/>
                </a:moveTo>
                <a:lnTo>
                  <a:pt x="462220" y="760452"/>
                </a:lnTo>
                <a:cubicBezTo>
                  <a:pt x="474282" y="752932"/>
                  <a:pt x="486346" y="747919"/>
                  <a:pt x="499614" y="742905"/>
                </a:cubicBezTo>
                <a:cubicBezTo>
                  <a:pt x="503234" y="742905"/>
                  <a:pt x="506852" y="739145"/>
                  <a:pt x="506852" y="734132"/>
                </a:cubicBezTo>
                <a:cubicBezTo>
                  <a:pt x="506852" y="732879"/>
                  <a:pt x="506852" y="730372"/>
                  <a:pt x="506852" y="729119"/>
                </a:cubicBezTo>
                <a:cubicBezTo>
                  <a:pt x="506852" y="716585"/>
                  <a:pt x="508060" y="704052"/>
                  <a:pt x="510472" y="692772"/>
                </a:cubicBezTo>
                <a:cubicBezTo>
                  <a:pt x="493584" y="691519"/>
                  <a:pt x="477902" y="690265"/>
                  <a:pt x="462220" y="690265"/>
                </a:cubicBezTo>
                <a:close/>
                <a:moveTo>
                  <a:pt x="428024" y="690265"/>
                </a:moveTo>
                <a:cubicBezTo>
                  <a:pt x="381414" y="691512"/>
                  <a:pt x="337256" y="695254"/>
                  <a:pt x="291872" y="703984"/>
                </a:cubicBezTo>
                <a:cubicBezTo>
                  <a:pt x="315178" y="777565"/>
                  <a:pt x="348296" y="834934"/>
                  <a:pt x="385094" y="864865"/>
                </a:cubicBezTo>
                <a:cubicBezTo>
                  <a:pt x="392454" y="834934"/>
                  <a:pt x="408398" y="808744"/>
                  <a:pt x="428024" y="787542"/>
                </a:cubicBezTo>
                <a:close/>
                <a:moveTo>
                  <a:pt x="1038232" y="494405"/>
                </a:moveTo>
                <a:cubicBezTo>
                  <a:pt x="975734" y="486945"/>
                  <a:pt x="915738" y="511810"/>
                  <a:pt x="875738" y="560297"/>
                </a:cubicBezTo>
                <a:cubicBezTo>
                  <a:pt x="863240" y="576460"/>
                  <a:pt x="841990" y="580189"/>
                  <a:pt x="824490" y="567757"/>
                </a:cubicBezTo>
                <a:cubicBezTo>
                  <a:pt x="795742" y="549108"/>
                  <a:pt x="761994" y="539162"/>
                  <a:pt x="728244" y="539162"/>
                </a:cubicBezTo>
                <a:cubicBezTo>
                  <a:pt x="628250" y="539162"/>
                  <a:pt x="547002" y="621217"/>
                  <a:pt x="547002" y="723164"/>
                </a:cubicBezTo>
                <a:cubicBezTo>
                  <a:pt x="547002" y="724407"/>
                  <a:pt x="547002" y="725650"/>
                  <a:pt x="547002" y="726894"/>
                </a:cubicBezTo>
                <a:cubicBezTo>
                  <a:pt x="547002" y="746786"/>
                  <a:pt x="534504" y="764191"/>
                  <a:pt x="514504" y="770408"/>
                </a:cubicBezTo>
                <a:cubicBezTo>
                  <a:pt x="458256" y="786570"/>
                  <a:pt x="418258" y="840030"/>
                  <a:pt x="418258" y="899706"/>
                </a:cubicBezTo>
                <a:cubicBezTo>
                  <a:pt x="418258" y="974301"/>
                  <a:pt x="478256" y="1035221"/>
                  <a:pt x="550752" y="1035221"/>
                </a:cubicBezTo>
                <a:lnTo>
                  <a:pt x="1185726" y="1035221"/>
                </a:lnTo>
                <a:cubicBezTo>
                  <a:pt x="1259472" y="1035221"/>
                  <a:pt x="1318220" y="974301"/>
                  <a:pt x="1318220" y="899706"/>
                </a:cubicBezTo>
                <a:cubicBezTo>
                  <a:pt x="1318220" y="837543"/>
                  <a:pt x="1275722" y="784083"/>
                  <a:pt x="1215724" y="769164"/>
                </a:cubicBezTo>
                <a:cubicBezTo>
                  <a:pt x="1206974" y="766678"/>
                  <a:pt x="1198226" y="760461"/>
                  <a:pt x="1194476" y="751759"/>
                </a:cubicBezTo>
                <a:cubicBezTo>
                  <a:pt x="1188226" y="743056"/>
                  <a:pt x="1188226" y="733110"/>
                  <a:pt x="1189476" y="724407"/>
                </a:cubicBezTo>
                <a:cubicBezTo>
                  <a:pt x="1198226" y="694569"/>
                  <a:pt x="1198226" y="664731"/>
                  <a:pt x="1191976" y="634893"/>
                </a:cubicBezTo>
                <a:cubicBezTo>
                  <a:pt x="1175726" y="559054"/>
                  <a:pt x="1113228" y="503108"/>
                  <a:pt x="1038232" y="494405"/>
                </a:cubicBezTo>
                <a:close/>
                <a:moveTo>
                  <a:pt x="462220" y="475956"/>
                </a:moveTo>
                <a:lnTo>
                  <a:pt x="462220" y="653517"/>
                </a:lnTo>
                <a:cubicBezTo>
                  <a:pt x="481196" y="653517"/>
                  <a:pt x="501436" y="654777"/>
                  <a:pt x="520412" y="656036"/>
                </a:cubicBezTo>
                <a:cubicBezTo>
                  <a:pt x="539390" y="599368"/>
                  <a:pt x="581138" y="554033"/>
                  <a:pt x="633006" y="528847"/>
                </a:cubicBezTo>
                <a:cubicBezTo>
                  <a:pt x="634270" y="509957"/>
                  <a:pt x="635536" y="493586"/>
                  <a:pt x="636800" y="475956"/>
                </a:cubicBezTo>
                <a:close/>
                <a:moveTo>
                  <a:pt x="33596" y="475956"/>
                </a:moveTo>
                <a:cubicBezTo>
                  <a:pt x="36078" y="566472"/>
                  <a:pt x="68366" y="649548"/>
                  <a:pt x="119282" y="716504"/>
                </a:cubicBezTo>
                <a:cubicBezTo>
                  <a:pt x="160264" y="697905"/>
                  <a:pt x="204970" y="684266"/>
                  <a:pt x="252162" y="671867"/>
                </a:cubicBezTo>
                <a:cubicBezTo>
                  <a:pt x="237258" y="613589"/>
                  <a:pt x="228566" y="546633"/>
                  <a:pt x="226082" y="475956"/>
                </a:cubicBezTo>
                <a:close/>
                <a:moveTo>
                  <a:pt x="666796" y="475954"/>
                </a:moveTo>
                <a:cubicBezTo>
                  <a:pt x="666796" y="488166"/>
                  <a:pt x="665544" y="501599"/>
                  <a:pt x="665544" y="513810"/>
                </a:cubicBezTo>
                <a:cubicBezTo>
                  <a:pt x="683072" y="508926"/>
                  <a:pt x="703106" y="506483"/>
                  <a:pt x="723140" y="506483"/>
                </a:cubicBezTo>
                <a:cubicBezTo>
                  <a:pt x="763206" y="506483"/>
                  <a:pt x="803272" y="516253"/>
                  <a:pt x="837078" y="539455"/>
                </a:cubicBezTo>
                <a:cubicBezTo>
                  <a:pt x="840834" y="540676"/>
                  <a:pt x="843338" y="540676"/>
                  <a:pt x="845842" y="538234"/>
                </a:cubicBezTo>
                <a:cubicBezTo>
                  <a:pt x="849598" y="533349"/>
                  <a:pt x="853354" y="528464"/>
                  <a:pt x="857110" y="524801"/>
                </a:cubicBezTo>
                <a:cubicBezTo>
                  <a:pt x="860866" y="508926"/>
                  <a:pt x="862118" y="493051"/>
                  <a:pt x="862118" y="475954"/>
                </a:cubicBezTo>
                <a:close/>
                <a:moveTo>
                  <a:pt x="258900" y="475954"/>
                </a:moveTo>
                <a:cubicBezTo>
                  <a:pt x="258900" y="544644"/>
                  <a:pt x="267540" y="609587"/>
                  <a:pt x="282352" y="667036"/>
                </a:cubicBezTo>
                <a:cubicBezTo>
                  <a:pt x="330494" y="658294"/>
                  <a:pt x="378636" y="652050"/>
                  <a:pt x="428012" y="652050"/>
                </a:cubicBezTo>
                <a:lnTo>
                  <a:pt x="428012" y="475954"/>
                </a:lnTo>
                <a:close/>
                <a:moveTo>
                  <a:pt x="610234" y="256146"/>
                </a:moveTo>
                <a:cubicBezTo>
                  <a:pt x="562160" y="264945"/>
                  <a:pt x="512822" y="269973"/>
                  <a:pt x="462220" y="271231"/>
                </a:cubicBezTo>
                <a:lnTo>
                  <a:pt x="462220" y="447220"/>
                </a:lnTo>
                <a:lnTo>
                  <a:pt x="636800" y="447220"/>
                </a:lnTo>
                <a:cubicBezTo>
                  <a:pt x="634270" y="378081"/>
                  <a:pt x="625416" y="312714"/>
                  <a:pt x="610234" y="256146"/>
                </a:cubicBezTo>
                <a:close/>
                <a:moveTo>
                  <a:pt x="282352" y="256146"/>
                </a:moveTo>
                <a:cubicBezTo>
                  <a:pt x="267540" y="312714"/>
                  <a:pt x="258900" y="378081"/>
                  <a:pt x="258900" y="447220"/>
                </a:cubicBezTo>
                <a:lnTo>
                  <a:pt x="428012" y="447220"/>
                </a:lnTo>
                <a:lnTo>
                  <a:pt x="428012" y="271231"/>
                </a:lnTo>
                <a:cubicBezTo>
                  <a:pt x="378636" y="269973"/>
                  <a:pt x="330494" y="264945"/>
                  <a:pt x="282352" y="256146"/>
                </a:cubicBezTo>
                <a:close/>
                <a:moveTo>
                  <a:pt x="776440" y="201195"/>
                </a:moveTo>
                <a:cubicBezTo>
                  <a:pt x="734218" y="219794"/>
                  <a:pt x="690752" y="234673"/>
                  <a:pt x="643562" y="244593"/>
                </a:cubicBezTo>
                <a:cubicBezTo>
                  <a:pt x="658464" y="304110"/>
                  <a:pt x="667158" y="371066"/>
                  <a:pt x="668400" y="441743"/>
                </a:cubicBezTo>
                <a:lnTo>
                  <a:pt x="862128" y="441743"/>
                </a:lnTo>
                <a:cubicBezTo>
                  <a:pt x="858402" y="352467"/>
                  <a:pt x="827356" y="268151"/>
                  <a:pt x="776440" y="201195"/>
                </a:cubicBezTo>
                <a:close/>
                <a:moveTo>
                  <a:pt x="119282" y="201195"/>
                </a:moveTo>
                <a:cubicBezTo>
                  <a:pt x="68366" y="268151"/>
                  <a:pt x="36078" y="352467"/>
                  <a:pt x="33596" y="441743"/>
                </a:cubicBezTo>
                <a:lnTo>
                  <a:pt x="226082" y="441743"/>
                </a:lnTo>
                <a:cubicBezTo>
                  <a:pt x="228566" y="371066"/>
                  <a:pt x="237258" y="304110"/>
                  <a:pt x="252162" y="244593"/>
                </a:cubicBezTo>
                <a:cubicBezTo>
                  <a:pt x="204970" y="234673"/>
                  <a:pt x="160264" y="219794"/>
                  <a:pt x="119282" y="201195"/>
                </a:cubicBezTo>
                <a:close/>
                <a:moveTo>
                  <a:pt x="544652" y="47332"/>
                </a:moveTo>
                <a:cubicBezTo>
                  <a:pt x="581718" y="83278"/>
                  <a:pt x="612608" y="140296"/>
                  <a:pt x="633614" y="210948"/>
                </a:cubicBezTo>
                <a:cubicBezTo>
                  <a:pt x="674388" y="202272"/>
                  <a:pt x="715164" y="188637"/>
                  <a:pt x="752232" y="173763"/>
                </a:cubicBezTo>
                <a:cubicBezTo>
                  <a:pt x="697866" y="111787"/>
                  <a:pt x="626200" y="67164"/>
                  <a:pt x="544652" y="47332"/>
                </a:cubicBezTo>
                <a:close/>
                <a:moveTo>
                  <a:pt x="351056" y="47332"/>
                </a:moveTo>
                <a:cubicBezTo>
                  <a:pt x="267854" y="67164"/>
                  <a:pt x="194736" y="111787"/>
                  <a:pt x="138006" y="173763"/>
                </a:cubicBezTo>
                <a:cubicBezTo>
                  <a:pt x="177086" y="188637"/>
                  <a:pt x="217428" y="202272"/>
                  <a:pt x="260290" y="210948"/>
                </a:cubicBezTo>
                <a:cubicBezTo>
                  <a:pt x="281720" y="140296"/>
                  <a:pt x="313236" y="83278"/>
                  <a:pt x="351056" y="47332"/>
                </a:cubicBezTo>
                <a:close/>
                <a:moveTo>
                  <a:pt x="462220" y="36339"/>
                </a:moveTo>
                <a:lnTo>
                  <a:pt x="462220" y="232914"/>
                </a:lnTo>
                <a:cubicBezTo>
                  <a:pt x="508014" y="231662"/>
                  <a:pt x="553808" y="227905"/>
                  <a:pt x="598364" y="219141"/>
                </a:cubicBezTo>
                <a:cubicBezTo>
                  <a:pt x="567422" y="117723"/>
                  <a:pt x="516678" y="47607"/>
                  <a:pt x="462220" y="36339"/>
                </a:cubicBezTo>
                <a:close/>
                <a:moveTo>
                  <a:pt x="428024" y="36339"/>
                </a:moveTo>
                <a:cubicBezTo>
                  <a:pt x="372828" y="47607"/>
                  <a:pt x="323764" y="117723"/>
                  <a:pt x="291872" y="219141"/>
                </a:cubicBezTo>
                <a:cubicBezTo>
                  <a:pt x="337256" y="227905"/>
                  <a:pt x="381414" y="231662"/>
                  <a:pt x="428024" y="232914"/>
                </a:cubicBezTo>
                <a:close/>
                <a:moveTo>
                  <a:pt x="450190" y="0"/>
                </a:moveTo>
                <a:cubicBezTo>
                  <a:pt x="698356" y="0"/>
                  <a:pt x="900380" y="205352"/>
                  <a:pt x="900380" y="457996"/>
                </a:cubicBezTo>
                <a:cubicBezTo>
                  <a:pt x="900380" y="470442"/>
                  <a:pt x="900380" y="481643"/>
                  <a:pt x="899132" y="494088"/>
                </a:cubicBezTo>
                <a:cubicBezTo>
                  <a:pt x="940286" y="466708"/>
                  <a:pt x="991416" y="454262"/>
                  <a:pt x="1041298" y="460485"/>
                </a:cubicBezTo>
                <a:cubicBezTo>
                  <a:pt x="1129840" y="470442"/>
                  <a:pt x="1203416" y="537648"/>
                  <a:pt x="1223370" y="627255"/>
                </a:cubicBezTo>
                <a:cubicBezTo>
                  <a:pt x="1232098" y="662103"/>
                  <a:pt x="1230852" y="698195"/>
                  <a:pt x="1220876" y="733043"/>
                </a:cubicBezTo>
                <a:cubicBezTo>
                  <a:pt x="1220876" y="734287"/>
                  <a:pt x="1220876" y="734287"/>
                  <a:pt x="1220876" y="735532"/>
                </a:cubicBezTo>
                <a:cubicBezTo>
                  <a:pt x="1222122" y="735532"/>
                  <a:pt x="1222122" y="735532"/>
                  <a:pt x="1222122" y="735532"/>
                </a:cubicBezTo>
                <a:cubicBezTo>
                  <a:pt x="1298194" y="754200"/>
                  <a:pt x="1350570" y="821406"/>
                  <a:pt x="1350570" y="899813"/>
                </a:cubicBezTo>
                <a:cubicBezTo>
                  <a:pt x="1350570" y="993154"/>
                  <a:pt x="1275746" y="1070317"/>
                  <a:pt x="1184710" y="1070317"/>
                </a:cubicBezTo>
                <a:lnTo>
                  <a:pt x="551202" y="1070317"/>
                </a:lnTo>
                <a:cubicBezTo>
                  <a:pt x="463908" y="1070317"/>
                  <a:pt x="391578" y="999377"/>
                  <a:pt x="385342" y="911014"/>
                </a:cubicBezTo>
                <a:cubicBezTo>
                  <a:pt x="168354" y="879900"/>
                  <a:pt x="0" y="688239"/>
                  <a:pt x="0" y="457996"/>
                </a:cubicBezTo>
                <a:cubicBezTo>
                  <a:pt x="0" y="205352"/>
                  <a:pt x="202024" y="0"/>
                  <a:pt x="450190" y="0"/>
                </a:cubicBezTo>
                <a:close/>
              </a:path>
            </a:pathLst>
          </a:custGeom>
          <a:solidFill>
            <a:srgbClr val="FFFFFF"/>
          </a:solidFill>
          <a:ln>
            <a:noFill/>
          </a:ln>
          <a:effectLst/>
        </p:spPr>
        <p:txBody>
          <a:bodyPr wrap="square" anchor="ctr">
            <a:noAutofit/>
          </a:bodyPr>
          <a:lstStyle/>
          <a:p>
            <a:endParaRPr lang="en-US" sz="6532" dirty="0">
              <a:latin typeface="Poppins" pitchFamily="2" charset="77"/>
            </a:endParaRPr>
          </a:p>
        </p:txBody>
      </p:sp>
      <p:sp>
        <p:nvSpPr>
          <p:cNvPr id="35" name="Freeform 928">
            <a:extLst>
              <a:ext uri="{FF2B5EF4-FFF2-40B4-BE49-F238E27FC236}">
                <a16:creationId xmlns:a16="http://schemas.microsoft.com/office/drawing/2014/main" id="{4B75443E-0823-22B2-0344-62C4D22DC35F}"/>
              </a:ext>
            </a:extLst>
          </p:cNvPr>
          <p:cNvSpPr>
            <a:spLocks noChangeArrowheads="1"/>
          </p:cNvSpPr>
          <p:nvPr/>
        </p:nvSpPr>
        <p:spPr bwMode="auto">
          <a:xfrm>
            <a:off x="9969736" y="2873422"/>
            <a:ext cx="1342454" cy="1342454"/>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36" name="Freeform 949">
            <a:extLst>
              <a:ext uri="{FF2B5EF4-FFF2-40B4-BE49-F238E27FC236}">
                <a16:creationId xmlns:a16="http://schemas.microsoft.com/office/drawing/2014/main" id="{C0C01983-C4E5-1F02-65BC-8EC9FC7C5C47}"/>
              </a:ext>
            </a:extLst>
          </p:cNvPr>
          <p:cNvSpPr>
            <a:spLocks noChangeAspect="1" noChangeArrowheads="1"/>
          </p:cNvSpPr>
          <p:nvPr/>
        </p:nvSpPr>
        <p:spPr bwMode="auto">
          <a:xfrm>
            <a:off x="5585880" y="2873422"/>
            <a:ext cx="944040" cy="946876"/>
          </a:xfrm>
          <a:custGeom>
            <a:avLst/>
            <a:gdLst>
              <a:gd name="T0" fmla="*/ 873075 w 291288"/>
              <a:gd name="T1" fmla="*/ 2795955 h 291739"/>
              <a:gd name="T2" fmla="*/ 825138 w 291288"/>
              <a:gd name="T3" fmla="*/ 3109255 h 291739"/>
              <a:gd name="T4" fmla="*/ 1567832 w 291288"/>
              <a:gd name="T5" fmla="*/ 3109255 h 291739"/>
              <a:gd name="T6" fmla="*/ 1567832 w 291288"/>
              <a:gd name="T7" fmla="*/ 2795955 h 291739"/>
              <a:gd name="T8" fmla="*/ 932966 w 291288"/>
              <a:gd name="T9" fmla="*/ 2427114 h 291739"/>
              <a:gd name="T10" fmla="*/ 889032 w 291288"/>
              <a:gd name="T11" fmla="*/ 2696803 h 291739"/>
              <a:gd name="T12" fmla="*/ 1615749 w 291288"/>
              <a:gd name="T13" fmla="*/ 2696803 h 291739"/>
              <a:gd name="T14" fmla="*/ 1663649 w 291288"/>
              <a:gd name="T15" fmla="*/ 2748367 h 291739"/>
              <a:gd name="T16" fmla="*/ 1663649 w 291288"/>
              <a:gd name="T17" fmla="*/ 3109255 h 291739"/>
              <a:gd name="T18" fmla="*/ 2973334 w 291288"/>
              <a:gd name="T19" fmla="*/ 3109255 h 291739"/>
              <a:gd name="T20" fmla="*/ 1603782 w 291288"/>
              <a:gd name="T21" fmla="*/ 2427114 h 291739"/>
              <a:gd name="T22" fmla="*/ 322044 w 291288"/>
              <a:gd name="T23" fmla="*/ 2427114 h 291739"/>
              <a:gd name="T24" fmla="*/ 114416 w 291288"/>
              <a:gd name="T25" fmla="*/ 3109255 h 291739"/>
              <a:gd name="T26" fmla="*/ 725308 w 291288"/>
              <a:gd name="T27" fmla="*/ 3109255 h 291739"/>
              <a:gd name="T28" fmla="*/ 837119 w 291288"/>
              <a:gd name="T29" fmla="*/ 2427114 h 291739"/>
              <a:gd name="T30" fmla="*/ 2861559 w 291288"/>
              <a:gd name="T31" fmla="*/ 2268491 h 291739"/>
              <a:gd name="T32" fmla="*/ 2178738 w 291288"/>
              <a:gd name="T33" fmla="*/ 2609551 h 291739"/>
              <a:gd name="T34" fmla="*/ 3101105 w 291288"/>
              <a:gd name="T35" fmla="*/ 3065636 h 291739"/>
              <a:gd name="T36" fmla="*/ 2090912 w 291288"/>
              <a:gd name="T37" fmla="*/ 1911559 h 291739"/>
              <a:gd name="T38" fmla="*/ 1695617 w 291288"/>
              <a:gd name="T39" fmla="*/ 2367632 h 291739"/>
              <a:gd name="T40" fmla="*/ 2070956 w 291288"/>
              <a:gd name="T41" fmla="*/ 2550070 h 291739"/>
              <a:gd name="T42" fmla="*/ 2833573 w 291288"/>
              <a:gd name="T43" fmla="*/ 2173303 h 291739"/>
              <a:gd name="T44" fmla="*/ 2753701 w 291288"/>
              <a:gd name="T45" fmla="*/ 1911559 h 291739"/>
              <a:gd name="T46" fmla="*/ 1020803 w 291288"/>
              <a:gd name="T47" fmla="*/ 1911559 h 291739"/>
              <a:gd name="T48" fmla="*/ 952932 w 291288"/>
              <a:gd name="T49" fmla="*/ 2331935 h 291739"/>
              <a:gd name="T50" fmla="*/ 1495937 w 291288"/>
              <a:gd name="T51" fmla="*/ 2331935 h 291739"/>
              <a:gd name="T52" fmla="*/ 1140594 w 291288"/>
              <a:gd name="T53" fmla="*/ 1911559 h 291739"/>
              <a:gd name="T54" fmla="*/ 477753 w 291288"/>
              <a:gd name="T55" fmla="*/ 1911559 h 291739"/>
              <a:gd name="T56" fmla="*/ 349984 w 291288"/>
              <a:gd name="T57" fmla="*/ 2331935 h 291739"/>
              <a:gd name="T58" fmla="*/ 853117 w 291288"/>
              <a:gd name="T59" fmla="*/ 2331935 h 291739"/>
              <a:gd name="T60" fmla="*/ 920988 w 291288"/>
              <a:gd name="T61" fmla="*/ 1911559 h 291739"/>
              <a:gd name="T62" fmla="*/ 1615749 w 291288"/>
              <a:gd name="T63" fmla="*/ 566600 h 291739"/>
              <a:gd name="T64" fmla="*/ 1277311 w 291288"/>
              <a:gd name="T65" fmla="*/ 907845 h 291739"/>
              <a:gd name="T66" fmla="*/ 1615749 w 291288"/>
              <a:gd name="T67" fmla="*/ 1245099 h 291739"/>
              <a:gd name="T68" fmla="*/ 1954201 w 291288"/>
              <a:gd name="T69" fmla="*/ 907845 h 291739"/>
              <a:gd name="T70" fmla="*/ 1615749 w 291288"/>
              <a:gd name="T71" fmla="*/ 566600 h 291739"/>
              <a:gd name="T72" fmla="*/ 1615749 w 291288"/>
              <a:gd name="T73" fmla="*/ 471356 h 291739"/>
              <a:gd name="T74" fmla="*/ 2053733 w 291288"/>
              <a:gd name="T75" fmla="*/ 907845 h 291739"/>
              <a:gd name="T76" fmla="*/ 1615749 w 291288"/>
              <a:gd name="T77" fmla="*/ 1340336 h 291739"/>
              <a:gd name="T78" fmla="*/ 1177757 w 291288"/>
              <a:gd name="T79" fmla="*/ 907845 h 291739"/>
              <a:gd name="T80" fmla="*/ 1615749 w 291288"/>
              <a:gd name="T81" fmla="*/ 471356 h 291739"/>
              <a:gd name="T82" fmla="*/ 1615749 w 291288"/>
              <a:gd name="T83" fmla="*/ 95201 h 291739"/>
              <a:gd name="T84" fmla="*/ 809176 w 291288"/>
              <a:gd name="T85" fmla="*/ 896289 h 291739"/>
              <a:gd name="T86" fmla="*/ 1615749 w 291288"/>
              <a:gd name="T87" fmla="*/ 2312106 h 291739"/>
              <a:gd name="T88" fmla="*/ 2418321 w 291288"/>
              <a:gd name="T89" fmla="*/ 896289 h 291739"/>
              <a:gd name="T90" fmla="*/ 1615749 w 291288"/>
              <a:gd name="T91" fmla="*/ 95201 h 291739"/>
              <a:gd name="T92" fmla="*/ 1615749 w 291288"/>
              <a:gd name="T93" fmla="*/ 0 h 291739"/>
              <a:gd name="T94" fmla="*/ 2514142 w 291288"/>
              <a:gd name="T95" fmla="*/ 896289 h 291739"/>
              <a:gd name="T96" fmla="*/ 2154774 w 291288"/>
              <a:gd name="T97" fmla="*/ 1812402 h 291739"/>
              <a:gd name="T98" fmla="*/ 2789634 w 291288"/>
              <a:gd name="T99" fmla="*/ 1812402 h 291739"/>
              <a:gd name="T100" fmla="*/ 2833573 w 291288"/>
              <a:gd name="T101" fmla="*/ 1848099 h 291739"/>
              <a:gd name="T102" fmla="*/ 3224882 w 291288"/>
              <a:gd name="T103" fmla="*/ 3140984 h 291739"/>
              <a:gd name="T104" fmla="*/ 3220897 w 291288"/>
              <a:gd name="T105" fmla="*/ 3188573 h 291739"/>
              <a:gd name="T106" fmla="*/ 3180961 w 291288"/>
              <a:gd name="T107" fmla="*/ 3208396 h 291739"/>
              <a:gd name="T108" fmla="*/ 46558 w 291288"/>
              <a:gd name="T109" fmla="*/ 3208396 h 291739"/>
              <a:gd name="T110" fmla="*/ 6633 w 291288"/>
              <a:gd name="T111" fmla="*/ 3188573 h 291739"/>
              <a:gd name="T112" fmla="*/ 2641 w 291288"/>
              <a:gd name="T113" fmla="*/ 3140984 h 291739"/>
              <a:gd name="T114" fmla="*/ 393917 w 291288"/>
              <a:gd name="T115" fmla="*/ 1848099 h 291739"/>
              <a:gd name="T116" fmla="*/ 441828 w 291288"/>
              <a:gd name="T117" fmla="*/ 1812402 h 291739"/>
              <a:gd name="T118" fmla="*/ 1068706 w 291288"/>
              <a:gd name="T119" fmla="*/ 1812402 h 291739"/>
              <a:gd name="T120" fmla="*/ 713343 w 291288"/>
              <a:gd name="T121" fmla="*/ 896289 h 291739"/>
              <a:gd name="T122" fmla="*/ 1615749 w 291288"/>
              <a:gd name="T123" fmla="*/ 0 h 29173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1288" h="291739">
                <a:moveTo>
                  <a:pt x="78754" y="254235"/>
                </a:moveTo>
                <a:lnTo>
                  <a:pt x="74431" y="282724"/>
                </a:lnTo>
                <a:lnTo>
                  <a:pt x="141424" y="282724"/>
                </a:lnTo>
                <a:lnTo>
                  <a:pt x="141424" y="254235"/>
                </a:lnTo>
                <a:lnTo>
                  <a:pt x="78754" y="254235"/>
                </a:lnTo>
                <a:close/>
                <a:moveTo>
                  <a:pt x="84156" y="220698"/>
                </a:moveTo>
                <a:lnTo>
                  <a:pt x="80194" y="245220"/>
                </a:lnTo>
                <a:lnTo>
                  <a:pt x="145746" y="245220"/>
                </a:lnTo>
                <a:cubicBezTo>
                  <a:pt x="147907" y="245220"/>
                  <a:pt x="150068" y="247384"/>
                  <a:pt x="150068" y="249908"/>
                </a:cubicBezTo>
                <a:lnTo>
                  <a:pt x="150068" y="282724"/>
                </a:lnTo>
                <a:lnTo>
                  <a:pt x="268205" y="282724"/>
                </a:lnTo>
                <a:lnTo>
                  <a:pt x="144666" y="220698"/>
                </a:lnTo>
                <a:lnTo>
                  <a:pt x="84156" y="220698"/>
                </a:lnTo>
                <a:close/>
                <a:moveTo>
                  <a:pt x="29050" y="220698"/>
                </a:moveTo>
                <a:lnTo>
                  <a:pt x="10321" y="282724"/>
                </a:lnTo>
                <a:lnTo>
                  <a:pt x="65427" y="282724"/>
                </a:lnTo>
                <a:lnTo>
                  <a:pt x="75512" y="220698"/>
                </a:lnTo>
                <a:lnTo>
                  <a:pt x="29050" y="220698"/>
                </a:lnTo>
                <a:close/>
                <a:moveTo>
                  <a:pt x="258120" y="206273"/>
                </a:moveTo>
                <a:lnTo>
                  <a:pt x="196530" y="237286"/>
                </a:lnTo>
                <a:lnTo>
                  <a:pt x="279730" y="278757"/>
                </a:lnTo>
                <a:lnTo>
                  <a:pt x="258120" y="206273"/>
                </a:lnTo>
                <a:close/>
                <a:moveTo>
                  <a:pt x="188607" y="173818"/>
                </a:moveTo>
                <a:cubicBezTo>
                  <a:pt x="174200" y="192930"/>
                  <a:pt x="160153" y="208076"/>
                  <a:pt x="152950" y="215289"/>
                </a:cubicBezTo>
                <a:lnTo>
                  <a:pt x="186806" y="231877"/>
                </a:lnTo>
                <a:lnTo>
                  <a:pt x="255599" y="197618"/>
                </a:lnTo>
                <a:lnTo>
                  <a:pt x="248395" y="173818"/>
                </a:lnTo>
                <a:lnTo>
                  <a:pt x="188607" y="173818"/>
                </a:lnTo>
                <a:close/>
                <a:moveTo>
                  <a:pt x="92080" y="173818"/>
                </a:moveTo>
                <a:lnTo>
                  <a:pt x="85957" y="212043"/>
                </a:lnTo>
                <a:lnTo>
                  <a:pt x="134941" y="212043"/>
                </a:lnTo>
                <a:cubicBezTo>
                  <a:pt x="127377" y="204109"/>
                  <a:pt x="115131" y="190406"/>
                  <a:pt x="102885" y="173818"/>
                </a:cubicBezTo>
                <a:lnTo>
                  <a:pt x="92080" y="173818"/>
                </a:lnTo>
                <a:close/>
                <a:moveTo>
                  <a:pt x="43096" y="173818"/>
                </a:moveTo>
                <a:lnTo>
                  <a:pt x="31571" y="212043"/>
                </a:lnTo>
                <a:lnTo>
                  <a:pt x="76953" y="212043"/>
                </a:lnTo>
                <a:lnTo>
                  <a:pt x="83076" y="173818"/>
                </a:lnTo>
                <a:lnTo>
                  <a:pt x="43096" y="173818"/>
                </a:lnTo>
                <a:close/>
                <a:moveTo>
                  <a:pt x="145746" y="51521"/>
                </a:moveTo>
                <a:cubicBezTo>
                  <a:pt x="128866" y="51521"/>
                  <a:pt x="115217" y="65592"/>
                  <a:pt x="115217" y="82550"/>
                </a:cubicBezTo>
                <a:cubicBezTo>
                  <a:pt x="115217" y="99507"/>
                  <a:pt x="128866" y="113217"/>
                  <a:pt x="145746" y="113217"/>
                </a:cubicBezTo>
                <a:cubicBezTo>
                  <a:pt x="162627" y="113217"/>
                  <a:pt x="176275" y="99507"/>
                  <a:pt x="176275" y="82550"/>
                </a:cubicBezTo>
                <a:cubicBezTo>
                  <a:pt x="176275" y="65592"/>
                  <a:pt x="162627" y="51521"/>
                  <a:pt x="145746" y="51521"/>
                </a:cubicBezTo>
                <a:close/>
                <a:moveTo>
                  <a:pt x="145746" y="42862"/>
                </a:moveTo>
                <a:cubicBezTo>
                  <a:pt x="167296" y="42862"/>
                  <a:pt x="185254" y="60541"/>
                  <a:pt x="185254" y="82550"/>
                </a:cubicBezTo>
                <a:cubicBezTo>
                  <a:pt x="185254" y="104197"/>
                  <a:pt x="167296" y="121876"/>
                  <a:pt x="145746" y="121876"/>
                </a:cubicBezTo>
                <a:cubicBezTo>
                  <a:pt x="123837" y="121876"/>
                  <a:pt x="106238" y="104197"/>
                  <a:pt x="106238" y="82550"/>
                </a:cubicBezTo>
                <a:cubicBezTo>
                  <a:pt x="106238" y="60541"/>
                  <a:pt x="123837" y="42862"/>
                  <a:pt x="145746" y="42862"/>
                </a:cubicBezTo>
                <a:close/>
                <a:moveTo>
                  <a:pt x="145746" y="8655"/>
                </a:moveTo>
                <a:cubicBezTo>
                  <a:pt x="105767" y="8655"/>
                  <a:pt x="72991" y="41471"/>
                  <a:pt x="72991" y="81500"/>
                </a:cubicBezTo>
                <a:cubicBezTo>
                  <a:pt x="72991" y="133428"/>
                  <a:pt x="131339" y="195815"/>
                  <a:pt x="145746" y="210240"/>
                </a:cubicBezTo>
                <a:cubicBezTo>
                  <a:pt x="159793" y="195815"/>
                  <a:pt x="218141" y="133068"/>
                  <a:pt x="218141" y="81500"/>
                </a:cubicBezTo>
                <a:cubicBezTo>
                  <a:pt x="218141" y="41471"/>
                  <a:pt x="185725" y="8655"/>
                  <a:pt x="145746" y="8655"/>
                </a:cubicBezTo>
                <a:close/>
                <a:moveTo>
                  <a:pt x="145746" y="0"/>
                </a:moveTo>
                <a:cubicBezTo>
                  <a:pt x="190408" y="0"/>
                  <a:pt x="226785" y="36422"/>
                  <a:pt x="226785" y="81500"/>
                </a:cubicBezTo>
                <a:cubicBezTo>
                  <a:pt x="226785" y="109628"/>
                  <a:pt x="211658" y="139920"/>
                  <a:pt x="194369" y="164802"/>
                </a:cubicBezTo>
                <a:lnTo>
                  <a:pt x="251637" y="164802"/>
                </a:lnTo>
                <a:cubicBezTo>
                  <a:pt x="253438" y="164802"/>
                  <a:pt x="255239" y="166245"/>
                  <a:pt x="255599" y="168048"/>
                </a:cubicBezTo>
                <a:lnTo>
                  <a:pt x="290896" y="285609"/>
                </a:lnTo>
                <a:cubicBezTo>
                  <a:pt x="291616" y="287051"/>
                  <a:pt x="291256" y="288494"/>
                  <a:pt x="290536" y="289936"/>
                </a:cubicBezTo>
                <a:cubicBezTo>
                  <a:pt x="289455" y="291018"/>
                  <a:pt x="288375" y="291739"/>
                  <a:pt x="286934" y="291739"/>
                </a:cubicBezTo>
                <a:lnTo>
                  <a:pt x="4198" y="291739"/>
                </a:lnTo>
                <a:cubicBezTo>
                  <a:pt x="3117" y="291739"/>
                  <a:pt x="1677" y="291018"/>
                  <a:pt x="596" y="289936"/>
                </a:cubicBezTo>
                <a:cubicBezTo>
                  <a:pt x="-124" y="288494"/>
                  <a:pt x="-124" y="287051"/>
                  <a:pt x="236" y="285609"/>
                </a:cubicBezTo>
                <a:lnTo>
                  <a:pt x="35533" y="168048"/>
                </a:lnTo>
                <a:cubicBezTo>
                  <a:pt x="36253" y="166245"/>
                  <a:pt x="37694" y="164802"/>
                  <a:pt x="39855" y="164802"/>
                </a:cubicBezTo>
                <a:lnTo>
                  <a:pt x="96402" y="164802"/>
                </a:lnTo>
                <a:cubicBezTo>
                  <a:pt x="79834" y="139920"/>
                  <a:pt x="64347" y="109628"/>
                  <a:pt x="64347" y="81500"/>
                </a:cubicBezTo>
                <a:cubicBezTo>
                  <a:pt x="64347" y="36422"/>
                  <a:pt x="100724" y="0"/>
                  <a:pt x="145746"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37" name="TextBox 36">
            <a:extLst>
              <a:ext uri="{FF2B5EF4-FFF2-40B4-BE49-F238E27FC236}">
                <a16:creationId xmlns:a16="http://schemas.microsoft.com/office/drawing/2014/main" id="{E78671DC-6707-8FDB-0422-093C08C93DE0}"/>
              </a:ext>
            </a:extLst>
          </p:cNvPr>
          <p:cNvSpPr txBox="1"/>
          <p:nvPr/>
        </p:nvSpPr>
        <p:spPr>
          <a:xfrm>
            <a:off x="5129541" y="4474975"/>
            <a:ext cx="1879600" cy="677108"/>
          </a:xfrm>
          <a:prstGeom prst="rect">
            <a:avLst/>
          </a:prstGeom>
          <a:noFill/>
        </p:spPr>
        <p:txBody>
          <a:bodyPr wrap="square" lIns="0" tIns="0" rIns="0" bIns="0" rtlCol="0">
            <a:spAutoFit/>
          </a:bodyPr>
          <a:lstStyle/>
          <a:p>
            <a:pPr algn="ctr"/>
            <a:r>
              <a:rPr lang="en-US" sz="4400" b="1" dirty="0">
                <a:solidFill>
                  <a:schemeClr val="accent3"/>
                </a:solidFill>
              </a:rPr>
              <a:t>62.5%</a:t>
            </a:r>
          </a:p>
        </p:txBody>
      </p:sp>
      <p:sp>
        <p:nvSpPr>
          <p:cNvPr id="38" name="TextBox 37">
            <a:extLst>
              <a:ext uri="{FF2B5EF4-FFF2-40B4-BE49-F238E27FC236}">
                <a16:creationId xmlns:a16="http://schemas.microsoft.com/office/drawing/2014/main" id="{500702C9-EF30-77BE-DD36-68700CEDD13B}"/>
              </a:ext>
            </a:extLst>
          </p:cNvPr>
          <p:cNvSpPr txBox="1"/>
          <p:nvPr/>
        </p:nvSpPr>
        <p:spPr>
          <a:xfrm>
            <a:off x="2701860" y="4768528"/>
            <a:ext cx="1879600" cy="677108"/>
          </a:xfrm>
          <a:prstGeom prst="rect">
            <a:avLst/>
          </a:prstGeom>
          <a:noFill/>
        </p:spPr>
        <p:txBody>
          <a:bodyPr wrap="square" lIns="0" tIns="0" rIns="0" bIns="0" rtlCol="0">
            <a:spAutoFit/>
          </a:bodyPr>
          <a:lstStyle/>
          <a:p>
            <a:pPr algn="ctr"/>
            <a:r>
              <a:rPr lang="en-US" sz="4400" b="1" dirty="0">
                <a:solidFill>
                  <a:schemeClr val="bg1">
                    <a:lumMod val="50000"/>
                  </a:schemeClr>
                </a:solidFill>
              </a:rPr>
              <a:t>+4%</a:t>
            </a:r>
          </a:p>
        </p:txBody>
      </p:sp>
      <p:sp>
        <p:nvSpPr>
          <p:cNvPr id="39" name="TextBox 38">
            <a:extLst>
              <a:ext uri="{FF2B5EF4-FFF2-40B4-BE49-F238E27FC236}">
                <a16:creationId xmlns:a16="http://schemas.microsoft.com/office/drawing/2014/main" id="{F5EF9D00-5794-262D-2311-2B042A8435DD}"/>
              </a:ext>
            </a:extLst>
          </p:cNvPr>
          <p:cNvSpPr txBox="1"/>
          <p:nvPr/>
        </p:nvSpPr>
        <p:spPr>
          <a:xfrm>
            <a:off x="2701860" y="5442972"/>
            <a:ext cx="2037141" cy="461665"/>
          </a:xfrm>
          <a:prstGeom prst="rect">
            <a:avLst/>
          </a:prstGeom>
          <a:noFill/>
        </p:spPr>
        <p:txBody>
          <a:bodyPr wrap="square">
            <a:spAutoFit/>
          </a:bodyPr>
          <a:lstStyle/>
          <a:p>
            <a:r>
              <a:rPr lang="en-US" sz="2400" b="1" dirty="0">
                <a:solidFill>
                  <a:schemeClr val="bg1">
                    <a:lumMod val="50000"/>
                  </a:schemeClr>
                </a:solidFill>
              </a:rPr>
              <a:t>+192 Million</a:t>
            </a:r>
            <a:endParaRPr lang="en-US" sz="2400" dirty="0">
              <a:solidFill>
                <a:schemeClr val="bg1">
                  <a:lumMod val="50000"/>
                </a:schemeClr>
              </a:solidFill>
            </a:endParaRPr>
          </a:p>
        </p:txBody>
      </p:sp>
      <p:sp>
        <p:nvSpPr>
          <p:cNvPr id="40" name="TextBox 39">
            <a:extLst>
              <a:ext uri="{FF2B5EF4-FFF2-40B4-BE49-F238E27FC236}">
                <a16:creationId xmlns:a16="http://schemas.microsoft.com/office/drawing/2014/main" id="{53FC58BA-9E95-A492-CB99-8A5F7B3001B8}"/>
              </a:ext>
            </a:extLst>
          </p:cNvPr>
          <p:cNvSpPr txBox="1"/>
          <p:nvPr/>
        </p:nvSpPr>
        <p:spPr>
          <a:xfrm>
            <a:off x="7457707" y="4768729"/>
            <a:ext cx="2021853" cy="677108"/>
          </a:xfrm>
          <a:prstGeom prst="rect">
            <a:avLst/>
          </a:prstGeom>
          <a:noFill/>
        </p:spPr>
        <p:txBody>
          <a:bodyPr wrap="square" lIns="0" tIns="0" rIns="0" bIns="0" rtlCol="0">
            <a:spAutoFit/>
          </a:bodyPr>
          <a:lstStyle/>
          <a:p>
            <a:pPr algn="ctr"/>
            <a:r>
              <a:rPr lang="en-US" sz="4400" b="1" dirty="0">
                <a:solidFill>
                  <a:schemeClr val="bg1">
                    <a:lumMod val="75000"/>
                  </a:schemeClr>
                </a:solidFill>
              </a:rPr>
              <a:t>7H</a:t>
            </a:r>
          </a:p>
        </p:txBody>
      </p:sp>
      <p:sp>
        <p:nvSpPr>
          <p:cNvPr id="42" name="TextBox 41">
            <a:extLst>
              <a:ext uri="{FF2B5EF4-FFF2-40B4-BE49-F238E27FC236}">
                <a16:creationId xmlns:a16="http://schemas.microsoft.com/office/drawing/2014/main" id="{991948BD-D223-F98A-3E08-649FF2F1F956}"/>
              </a:ext>
            </a:extLst>
          </p:cNvPr>
          <p:cNvSpPr txBox="1"/>
          <p:nvPr/>
        </p:nvSpPr>
        <p:spPr>
          <a:xfrm>
            <a:off x="550445" y="4470469"/>
            <a:ext cx="1879600" cy="677108"/>
          </a:xfrm>
          <a:prstGeom prst="rect">
            <a:avLst/>
          </a:prstGeom>
          <a:noFill/>
        </p:spPr>
        <p:txBody>
          <a:bodyPr wrap="square" lIns="0" tIns="0" rIns="0" bIns="0" rtlCol="0">
            <a:spAutoFit/>
          </a:bodyPr>
          <a:lstStyle/>
          <a:p>
            <a:pPr algn="ctr"/>
            <a:r>
              <a:rPr lang="en-US" sz="4400" b="1" dirty="0">
                <a:solidFill>
                  <a:schemeClr val="bg2"/>
                </a:solidFill>
              </a:rPr>
              <a:t>4.95</a:t>
            </a:r>
          </a:p>
        </p:txBody>
      </p:sp>
      <p:sp>
        <p:nvSpPr>
          <p:cNvPr id="43" name="TextBox 42">
            <a:extLst>
              <a:ext uri="{FF2B5EF4-FFF2-40B4-BE49-F238E27FC236}">
                <a16:creationId xmlns:a16="http://schemas.microsoft.com/office/drawing/2014/main" id="{CAA4C107-6EA5-2A8C-3749-60EF262330B2}"/>
              </a:ext>
            </a:extLst>
          </p:cNvPr>
          <p:cNvSpPr txBox="1"/>
          <p:nvPr/>
        </p:nvSpPr>
        <p:spPr>
          <a:xfrm>
            <a:off x="951612" y="4974174"/>
            <a:ext cx="1331514" cy="461665"/>
          </a:xfrm>
          <a:prstGeom prst="rect">
            <a:avLst/>
          </a:prstGeom>
          <a:noFill/>
        </p:spPr>
        <p:txBody>
          <a:bodyPr wrap="square">
            <a:spAutoFit/>
          </a:bodyPr>
          <a:lstStyle/>
          <a:p>
            <a:r>
              <a:rPr lang="en-US" sz="2400" b="1" dirty="0">
                <a:solidFill>
                  <a:schemeClr val="bg2"/>
                </a:solidFill>
              </a:rPr>
              <a:t>Billion</a:t>
            </a:r>
            <a:endParaRPr lang="en-US" sz="2400" dirty="0">
              <a:solidFill>
                <a:schemeClr val="bg2"/>
              </a:solidFill>
            </a:endParaRPr>
          </a:p>
        </p:txBody>
      </p:sp>
      <p:sp>
        <p:nvSpPr>
          <p:cNvPr id="44" name="TextBox 43">
            <a:extLst>
              <a:ext uri="{FF2B5EF4-FFF2-40B4-BE49-F238E27FC236}">
                <a16:creationId xmlns:a16="http://schemas.microsoft.com/office/drawing/2014/main" id="{EC777244-E9E4-3139-D582-ECCE98516F47}"/>
              </a:ext>
            </a:extLst>
          </p:cNvPr>
          <p:cNvSpPr txBox="1"/>
          <p:nvPr/>
        </p:nvSpPr>
        <p:spPr>
          <a:xfrm>
            <a:off x="9928126" y="4768528"/>
            <a:ext cx="1879600" cy="677108"/>
          </a:xfrm>
          <a:prstGeom prst="rect">
            <a:avLst/>
          </a:prstGeom>
          <a:noFill/>
        </p:spPr>
        <p:txBody>
          <a:bodyPr wrap="square" lIns="0" tIns="0" rIns="0" bIns="0" rtlCol="0">
            <a:spAutoFit/>
          </a:bodyPr>
          <a:lstStyle/>
          <a:p>
            <a:pPr algn="ctr"/>
            <a:r>
              <a:rPr lang="en-US" sz="4400" b="1" dirty="0">
                <a:solidFill>
                  <a:schemeClr val="accent4"/>
                </a:solidFill>
              </a:rPr>
              <a:t>92.1%</a:t>
            </a:r>
          </a:p>
        </p:txBody>
      </p:sp>
      <p:sp>
        <p:nvSpPr>
          <p:cNvPr id="45" name="TextBox 44">
            <a:extLst>
              <a:ext uri="{FF2B5EF4-FFF2-40B4-BE49-F238E27FC236}">
                <a16:creationId xmlns:a16="http://schemas.microsoft.com/office/drawing/2014/main" id="{FDD67C2D-4213-530D-D2DB-F28620D8A6D3}"/>
              </a:ext>
            </a:extLst>
          </p:cNvPr>
          <p:cNvSpPr txBox="1"/>
          <p:nvPr/>
        </p:nvSpPr>
        <p:spPr>
          <a:xfrm>
            <a:off x="5243745" y="1201874"/>
            <a:ext cx="1623046" cy="765338"/>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Internet Users as at Percentage of Total Population</a:t>
            </a:r>
          </a:p>
        </p:txBody>
      </p:sp>
      <p:sp>
        <p:nvSpPr>
          <p:cNvPr id="46" name="TextBox 45">
            <a:extLst>
              <a:ext uri="{FF2B5EF4-FFF2-40B4-BE49-F238E27FC236}">
                <a16:creationId xmlns:a16="http://schemas.microsoft.com/office/drawing/2014/main" id="{193761D7-4ED7-04C7-4FDE-D6ACF538F2E4}"/>
              </a:ext>
            </a:extLst>
          </p:cNvPr>
          <p:cNvSpPr txBox="1"/>
          <p:nvPr/>
        </p:nvSpPr>
        <p:spPr>
          <a:xfrm>
            <a:off x="2921856" y="1192163"/>
            <a:ext cx="1623046" cy="996170"/>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Year over year change in the number of Internet Users</a:t>
            </a:r>
          </a:p>
        </p:txBody>
      </p:sp>
      <p:sp>
        <p:nvSpPr>
          <p:cNvPr id="47" name="TextBox 46">
            <a:extLst>
              <a:ext uri="{FF2B5EF4-FFF2-40B4-BE49-F238E27FC236}">
                <a16:creationId xmlns:a16="http://schemas.microsoft.com/office/drawing/2014/main" id="{5136AC57-7E35-460E-8AC9-7C1B8B9C6C06}"/>
              </a:ext>
            </a:extLst>
          </p:cNvPr>
          <p:cNvSpPr txBox="1"/>
          <p:nvPr/>
        </p:nvSpPr>
        <p:spPr>
          <a:xfrm>
            <a:off x="7540746" y="1200229"/>
            <a:ext cx="1623046" cy="996170"/>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Average Daily Time Spent Using the Internet by User</a:t>
            </a:r>
          </a:p>
        </p:txBody>
      </p:sp>
      <p:sp>
        <p:nvSpPr>
          <p:cNvPr id="48" name="TextBox 47">
            <a:extLst>
              <a:ext uri="{FF2B5EF4-FFF2-40B4-BE49-F238E27FC236}">
                <a16:creationId xmlns:a16="http://schemas.microsoft.com/office/drawing/2014/main" id="{B864B114-C588-8B05-131A-76837CE50F8F}"/>
              </a:ext>
            </a:extLst>
          </p:cNvPr>
          <p:cNvSpPr txBox="1"/>
          <p:nvPr/>
        </p:nvSpPr>
        <p:spPr>
          <a:xfrm>
            <a:off x="9829440" y="1200229"/>
            <a:ext cx="1623046" cy="996170"/>
          </a:xfrm>
          <a:prstGeom prst="rect">
            <a:avLst/>
          </a:prstGeom>
          <a:noFill/>
        </p:spPr>
        <p:txBody>
          <a:bodyPr wrap="square" rtlCol="0" anchor="t">
            <a:spAutoFit/>
          </a:bodyPr>
          <a:lstStyle/>
          <a:p>
            <a:pPr algn="ctr">
              <a:lnSpc>
                <a:spcPts val="1750"/>
              </a:lnSpc>
              <a:spcBef>
                <a:spcPts val="900"/>
              </a:spcBef>
            </a:pPr>
            <a:r>
              <a:rPr lang="en-US" sz="1400" b="1" dirty="0">
                <a:solidFill>
                  <a:schemeClr val="tx1">
                    <a:lumMod val="75000"/>
                  </a:schemeClr>
                </a:solidFill>
                <a:latin typeface="+mj-lt"/>
                <a:ea typeface="Lato Light" panose="020F0502020204030203" pitchFamily="34" charset="0"/>
                <a:cs typeface="Lato Light" panose="020F0502020204030203" pitchFamily="34" charset="0"/>
              </a:rPr>
              <a:t>Percentage Users Accessing the Internet on Mobile Phones</a:t>
            </a:r>
          </a:p>
        </p:txBody>
      </p:sp>
      <p:sp>
        <p:nvSpPr>
          <p:cNvPr id="49" name="Title 1">
            <a:extLst>
              <a:ext uri="{FF2B5EF4-FFF2-40B4-BE49-F238E27FC236}">
                <a16:creationId xmlns:a16="http://schemas.microsoft.com/office/drawing/2014/main" id="{20034B4C-4CF0-D993-14A6-D0980BD397EE}"/>
              </a:ext>
            </a:extLst>
          </p:cNvPr>
          <p:cNvSpPr txBox="1">
            <a:spLocks/>
          </p:cNvSpPr>
          <p:nvPr/>
        </p:nvSpPr>
        <p:spPr>
          <a:xfrm>
            <a:off x="7619" y="6412"/>
            <a:ext cx="8635638"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nternet Usage in 2022</a:t>
            </a:r>
          </a:p>
        </p:txBody>
      </p:sp>
      <p:sp>
        <p:nvSpPr>
          <p:cNvPr id="2" name="TextBox 1">
            <a:extLst>
              <a:ext uri="{FF2B5EF4-FFF2-40B4-BE49-F238E27FC236}">
                <a16:creationId xmlns:a16="http://schemas.microsoft.com/office/drawing/2014/main" id="{5312068F-1627-1082-646A-9FB140634F8F}"/>
              </a:ext>
            </a:extLst>
          </p:cNvPr>
          <p:cNvSpPr txBox="1"/>
          <p:nvPr/>
        </p:nvSpPr>
        <p:spPr>
          <a:xfrm>
            <a:off x="550445" y="5597709"/>
            <a:ext cx="1879600" cy="677108"/>
          </a:xfrm>
          <a:prstGeom prst="rect">
            <a:avLst/>
          </a:prstGeom>
          <a:noFill/>
        </p:spPr>
        <p:txBody>
          <a:bodyPr wrap="square" lIns="0" tIns="0" rIns="0" bIns="0" rtlCol="0">
            <a:spAutoFit/>
          </a:bodyPr>
          <a:lstStyle/>
          <a:p>
            <a:pPr algn="ctr"/>
            <a:r>
              <a:rPr lang="en-US" sz="4400" b="1" dirty="0">
                <a:solidFill>
                  <a:schemeClr val="bg2"/>
                </a:solidFill>
              </a:rPr>
              <a:t>26.7</a:t>
            </a:r>
          </a:p>
        </p:txBody>
      </p:sp>
      <p:sp>
        <p:nvSpPr>
          <p:cNvPr id="3" name="TextBox 2">
            <a:extLst>
              <a:ext uri="{FF2B5EF4-FFF2-40B4-BE49-F238E27FC236}">
                <a16:creationId xmlns:a16="http://schemas.microsoft.com/office/drawing/2014/main" id="{32854858-3AB7-D955-E6D9-FC4B54B25D64}"/>
              </a:ext>
            </a:extLst>
          </p:cNvPr>
          <p:cNvSpPr txBox="1"/>
          <p:nvPr/>
        </p:nvSpPr>
        <p:spPr>
          <a:xfrm>
            <a:off x="852890" y="6136856"/>
            <a:ext cx="1331514" cy="461665"/>
          </a:xfrm>
          <a:prstGeom prst="rect">
            <a:avLst/>
          </a:prstGeom>
          <a:noFill/>
        </p:spPr>
        <p:txBody>
          <a:bodyPr wrap="square">
            <a:spAutoFit/>
          </a:bodyPr>
          <a:lstStyle/>
          <a:p>
            <a:pPr algn="ctr"/>
            <a:r>
              <a:rPr lang="en-US" sz="2400" b="1" dirty="0">
                <a:solidFill>
                  <a:schemeClr val="bg2"/>
                </a:solidFill>
              </a:rPr>
              <a:t>Million</a:t>
            </a:r>
            <a:endParaRPr lang="en-US" sz="2400" dirty="0">
              <a:solidFill>
                <a:schemeClr val="bg2"/>
              </a:solidFill>
            </a:endParaRPr>
          </a:p>
        </p:txBody>
      </p:sp>
      <p:sp>
        <p:nvSpPr>
          <p:cNvPr id="5" name="TextBox 4">
            <a:extLst>
              <a:ext uri="{FF2B5EF4-FFF2-40B4-BE49-F238E27FC236}">
                <a16:creationId xmlns:a16="http://schemas.microsoft.com/office/drawing/2014/main" id="{B5484954-E275-3332-8F33-6A09D1998C45}"/>
              </a:ext>
            </a:extLst>
          </p:cNvPr>
          <p:cNvSpPr txBox="1"/>
          <p:nvPr/>
        </p:nvSpPr>
        <p:spPr>
          <a:xfrm>
            <a:off x="622212" y="6448405"/>
            <a:ext cx="1805816" cy="461665"/>
          </a:xfrm>
          <a:prstGeom prst="rect">
            <a:avLst/>
          </a:prstGeom>
          <a:noFill/>
        </p:spPr>
        <p:txBody>
          <a:bodyPr wrap="square">
            <a:spAutoFit/>
          </a:bodyPr>
          <a:lstStyle/>
          <a:p>
            <a:pPr algn="ctr"/>
            <a:r>
              <a:rPr lang="en-US" sz="2400" b="1" dirty="0">
                <a:solidFill>
                  <a:schemeClr val="bg2"/>
                </a:solidFill>
              </a:rPr>
              <a:t>Caribbean</a:t>
            </a:r>
            <a:endParaRPr lang="en-US" sz="2400" dirty="0">
              <a:solidFill>
                <a:schemeClr val="bg2"/>
              </a:solidFill>
            </a:endParaRPr>
          </a:p>
        </p:txBody>
      </p:sp>
      <p:sp>
        <p:nvSpPr>
          <p:cNvPr id="6" name="TextBox 5">
            <a:extLst>
              <a:ext uri="{FF2B5EF4-FFF2-40B4-BE49-F238E27FC236}">
                <a16:creationId xmlns:a16="http://schemas.microsoft.com/office/drawing/2014/main" id="{FBDC5496-2B55-52FD-1270-67F4BDCF524A}"/>
              </a:ext>
            </a:extLst>
          </p:cNvPr>
          <p:cNvSpPr txBox="1"/>
          <p:nvPr/>
        </p:nvSpPr>
        <p:spPr>
          <a:xfrm>
            <a:off x="5156200" y="5435839"/>
            <a:ext cx="1879600" cy="677108"/>
          </a:xfrm>
          <a:prstGeom prst="rect">
            <a:avLst/>
          </a:prstGeom>
          <a:noFill/>
        </p:spPr>
        <p:txBody>
          <a:bodyPr wrap="square" lIns="0" tIns="0" rIns="0" bIns="0" rtlCol="0">
            <a:spAutoFit/>
          </a:bodyPr>
          <a:lstStyle/>
          <a:p>
            <a:pPr algn="ctr"/>
            <a:r>
              <a:rPr lang="en-US" sz="4400" b="1" dirty="0">
                <a:solidFill>
                  <a:schemeClr val="accent3"/>
                </a:solidFill>
              </a:rPr>
              <a:t>60.9%</a:t>
            </a:r>
          </a:p>
        </p:txBody>
      </p:sp>
      <p:sp>
        <p:nvSpPr>
          <p:cNvPr id="7" name="TextBox 6">
            <a:extLst>
              <a:ext uri="{FF2B5EF4-FFF2-40B4-BE49-F238E27FC236}">
                <a16:creationId xmlns:a16="http://schemas.microsoft.com/office/drawing/2014/main" id="{1FE13BD6-7E17-39FE-8B83-B8CBADC52B83}"/>
              </a:ext>
            </a:extLst>
          </p:cNvPr>
          <p:cNvSpPr txBox="1"/>
          <p:nvPr/>
        </p:nvSpPr>
        <p:spPr>
          <a:xfrm>
            <a:off x="5170273" y="5989836"/>
            <a:ext cx="1805816" cy="461665"/>
          </a:xfrm>
          <a:prstGeom prst="rect">
            <a:avLst/>
          </a:prstGeom>
          <a:noFill/>
        </p:spPr>
        <p:txBody>
          <a:bodyPr wrap="square">
            <a:spAutoFit/>
          </a:bodyPr>
          <a:lstStyle/>
          <a:p>
            <a:pPr algn="ctr"/>
            <a:r>
              <a:rPr lang="en-US" sz="2400" b="1" dirty="0">
                <a:solidFill>
                  <a:schemeClr val="accent3"/>
                </a:solidFill>
              </a:rPr>
              <a:t>Caribbean</a:t>
            </a:r>
            <a:endParaRPr lang="en-US" sz="2400" dirty="0">
              <a:solidFill>
                <a:schemeClr val="accent3"/>
              </a:solidFill>
            </a:endParaRPr>
          </a:p>
        </p:txBody>
      </p:sp>
      <p:sp>
        <p:nvSpPr>
          <p:cNvPr id="8" name="Down Arrow 7">
            <a:extLst>
              <a:ext uri="{FF2B5EF4-FFF2-40B4-BE49-F238E27FC236}">
                <a16:creationId xmlns:a16="http://schemas.microsoft.com/office/drawing/2014/main" id="{57CA112E-8171-6D51-25C7-59220CBE5EFA}"/>
              </a:ext>
            </a:extLst>
          </p:cNvPr>
          <p:cNvSpPr/>
          <p:nvPr/>
        </p:nvSpPr>
        <p:spPr>
          <a:xfrm>
            <a:off x="1178191" y="5407681"/>
            <a:ext cx="599440" cy="243601"/>
          </a:xfrm>
          <a:prstGeom prst="downArrow">
            <a:avLst/>
          </a:prstGeom>
          <a:solidFill>
            <a:schemeClr val="bg2"/>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Down Arrow 8">
            <a:extLst>
              <a:ext uri="{FF2B5EF4-FFF2-40B4-BE49-F238E27FC236}">
                <a16:creationId xmlns:a16="http://schemas.microsoft.com/office/drawing/2014/main" id="{E1A80D09-2D06-D67B-B5E6-C0A4E5FD36B4}"/>
              </a:ext>
            </a:extLst>
          </p:cNvPr>
          <p:cNvSpPr/>
          <p:nvPr/>
        </p:nvSpPr>
        <p:spPr>
          <a:xfrm>
            <a:off x="5720863" y="5149899"/>
            <a:ext cx="599440" cy="243601"/>
          </a:xfrm>
          <a:prstGeom prst="downArrow">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990666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147427D-1223-9345-90C9-6592F11A6979}"/>
              </a:ext>
            </a:extLst>
          </p:cNvPr>
          <p:cNvGraphicFramePr>
            <a:graphicFrameLocks noChangeAspect="1"/>
          </p:cNvGraphicFramePr>
          <p:nvPr>
            <p:custDataLst>
              <p:tags r:id="rId2"/>
            </p:custDataLst>
          </p:nvPr>
        </p:nvGraphicFramePr>
        <p:xfrm>
          <a:off x="1525589" y="1588"/>
          <a:ext cx="1227" cy="1588"/>
        </p:xfrm>
        <a:graphic>
          <a:graphicData uri="http://schemas.openxmlformats.org/presentationml/2006/ole">
            <mc:AlternateContent xmlns:mc="http://schemas.openxmlformats.org/markup-compatibility/2006">
              <mc:Choice xmlns:v="urn:schemas-microsoft-com:vml" Requires="v">
                <p:oleObj spid="_x0000_s25601" name="think-cell Slide" r:id="rId4" imgW="7772400" imgH="10058400" progId="TCLayout.ActiveDocument.1">
                  <p:embed/>
                </p:oleObj>
              </mc:Choice>
              <mc:Fallback>
                <p:oleObj name="think-cell Slide" r:id="rId4" imgW="7772400" imgH="10058400" progId="TCLayout.ActiveDocument.1">
                  <p:embed/>
                  <p:pic>
                    <p:nvPicPr>
                      <p:cNvPr id="7" name="Object 6" hidden="1">
                        <a:extLst>
                          <a:ext uri="{FF2B5EF4-FFF2-40B4-BE49-F238E27FC236}">
                            <a16:creationId xmlns:a16="http://schemas.microsoft.com/office/drawing/2014/main" id="{B147427D-1223-9345-90C9-6592F11A6979}"/>
                          </a:ext>
                        </a:extLst>
                      </p:cNvPr>
                      <p:cNvPicPr/>
                      <p:nvPr/>
                    </p:nvPicPr>
                    <p:blipFill>
                      <a:blip r:embed="rId5"/>
                      <a:stretch>
                        <a:fillRect/>
                      </a:stretch>
                    </p:blipFill>
                    <p:spPr>
                      <a:xfrm>
                        <a:off x="1525589" y="1588"/>
                        <a:ext cx="1227" cy="1588"/>
                      </a:xfrm>
                      <a:prstGeom prst="rect">
                        <a:avLst/>
                      </a:prstGeom>
                    </p:spPr>
                  </p:pic>
                </p:oleObj>
              </mc:Fallback>
            </mc:AlternateContent>
          </a:graphicData>
        </a:graphic>
      </p:graphicFrame>
      <p:pic>
        <p:nvPicPr>
          <p:cNvPr id="94" name="Picture 2">
            <a:extLst>
              <a:ext uri="{FF2B5EF4-FFF2-40B4-BE49-F238E27FC236}">
                <a16:creationId xmlns:a16="http://schemas.microsoft.com/office/drawing/2014/main" id="{77D43727-6842-5BD0-29B8-43EAFA9A7F30}"/>
              </a:ext>
              <a:ext uri="{C183D7F6-B498-43B3-948B-1728B52AA6E4}">
                <adec:decorative xmlns:adec="http://schemas.microsoft.com/office/drawing/2017/decorative" val="0"/>
              </a:ext>
            </a:extLst>
          </p:cNvPr>
          <p:cNvPicPr>
            <a:picLocks noChangeAspect="1" noChangeArrowheads="1"/>
          </p:cNvPicPr>
          <p:nvPr/>
        </p:nvPicPr>
        <p:blipFill>
          <a:blip r:embed="rId6">
            <a:alphaModFix amt="26000"/>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Freeform 86">
            <a:extLst>
              <a:ext uri="{FF2B5EF4-FFF2-40B4-BE49-F238E27FC236}">
                <a16:creationId xmlns:a16="http://schemas.microsoft.com/office/drawing/2014/main" id="{6D51015E-8647-CF4A-B0F7-1266C70CB4FE}"/>
              </a:ext>
            </a:extLst>
          </p:cNvPr>
          <p:cNvSpPr>
            <a:spLocks noChangeAspect="1" noChangeArrowheads="1"/>
          </p:cNvSpPr>
          <p:nvPr/>
        </p:nvSpPr>
        <p:spPr bwMode="auto">
          <a:xfrm>
            <a:off x="1273983" y="622708"/>
            <a:ext cx="887933" cy="887990"/>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15" name="Pie 14">
            <a:extLst>
              <a:ext uri="{FF2B5EF4-FFF2-40B4-BE49-F238E27FC236}">
                <a16:creationId xmlns:a16="http://schemas.microsoft.com/office/drawing/2014/main" id="{8BB11FB6-81F0-9B40-9051-F9573C6DC741}"/>
              </a:ext>
            </a:extLst>
          </p:cNvPr>
          <p:cNvSpPr>
            <a:spLocks/>
          </p:cNvSpPr>
          <p:nvPr/>
        </p:nvSpPr>
        <p:spPr>
          <a:xfrm>
            <a:off x="1272800" y="622651"/>
            <a:ext cx="889115" cy="887990"/>
          </a:xfrm>
          <a:prstGeom prst="pie">
            <a:avLst>
              <a:gd name="adj1" fmla="val 16193829"/>
              <a:gd name="adj2" fmla="val 7188436"/>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17" name="Freeform 86">
            <a:extLst>
              <a:ext uri="{FF2B5EF4-FFF2-40B4-BE49-F238E27FC236}">
                <a16:creationId xmlns:a16="http://schemas.microsoft.com/office/drawing/2014/main" id="{28632364-ECFC-2148-8280-8FD15F31D4F6}"/>
              </a:ext>
            </a:extLst>
          </p:cNvPr>
          <p:cNvSpPr>
            <a:spLocks noChangeAspect="1" noChangeArrowheads="1"/>
          </p:cNvSpPr>
          <p:nvPr/>
        </p:nvSpPr>
        <p:spPr bwMode="auto">
          <a:xfrm>
            <a:off x="7932004" y="2193661"/>
            <a:ext cx="662968" cy="663011"/>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18" name="Pie 17">
            <a:extLst>
              <a:ext uri="{FF2B5EF4-FFF2-40B4-BE49-F238E27FC236}">
                <a16:creationId xmlns:a16="http://schemas.microsoft.com/office/drawing/2014/main" id="{9E38927F-E9B7-9845-9938-D6FBAE70C4D7}"/>
              </a:ext>
            </a:extLst>
          </p:cNvPr>
          <p:cNvSpPr>
            <a:spLocks/>
          </p:cNvSpPr>
          <p:nvPr/>
        </p:nvSpPr>
        <p:spPr>
          <a:xfrm>
            <a:off x="7931122" y="2193618"/>
            <a:ext cx="663851" cy="663011"/>
          </a:xfrm>
          <a:prstGeom prst="pie">
            <a:avLst>
              <a:gd name="adj1" fmla="val 16193829"/>
              <a:gd name="adj2" fmla="val 13575197"/>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20" name="Freeform 86">
            <a:extLst>
              <a:ext uri="{FF2B5EF4-FFF2-40B4-BE49-F238E27FC236}">
                <a16:creationId xmlns:a16="http://schemas.microsoft.com/office/drawing/2014/main" id="{3037D41C-A3F0-0C45-9B3C-F362DCC136FE}"/>
              </a:ext>
            </a:extLst>
          </p:cNvPr>
          <p:cNvSpPr>
            <a:spLocks noChangeAspect="1" noChangeArrowheads="1"/>
          </p:cNvSpPr>
          <p:nvPr/>
        </p:nvSpPr>
        <p:spPr bwMode="auto">
          <a:xfrm>
            <a:off x="8172098" y="5532058"/>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21" name="Pie 20">
            <a:extLst>
              <a:ext uri="{FF2B5EF4-FFF2-40B4-BE49-F238E27FC236}">
                <a16:creationId xmlns:a16="http://schemas.microsoft.com/office/drawing/2014/main" id="{B68328CD-06A8-A546-BCB0-8D6FB131D1DC}"/>
              </a:ext>
            </a:extLst>
          </p:cNvPr>
          <p:cNvSpPr>
            <a:spLocks/>
          </p:cNvSpPr>
          <p:nvPr/>
        </p:nvSpPr>
        <p:spPr>
          <a:xfrm>
            <a:off x="8171475" y="5532028"/>
            <a:ext cx="467904" cy="467312"/>
          </a:xfrm>
          <a:prstGeom prst="pie">
            <a:avLst>
              <a:gd name="adj1" fmla="val 16193829"/>
              <a:gd name="adj2" fmla="val 13569376"/>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38" name="TextBox 37">
            <a:extLst>
              <a:ext uri="{FF2B5EF4-FFF2-40B4-BE49-F238E27FC236}">
                <a16:creationId xmlns:a16="http://schemas.microsoft.com/office/drawing/2014/main" id="{B1609105-601D-EE4A-B0A5-E4029DC60F67}"/>
              </a:ext>
            </a:extLst>
          </p:cNvPr>
          <p:cNvSpPr txBox="1"/>
          <p:nvPr/>
        </p:nvSpPr>
        <p:spPr>
          <a:xfrm>
            <a:off x="958739" y="154021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Jamaica - 61%</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2.8M population</a:t>
            </a:r>
          </a:p>
        </p:txBody>
      </p:sp>
      <p:sp>
        <p:nvSpPr>
          <p:cNvPr id="39" name="TextBox 38">
            <a:extLst>
              <a:ext uri="{FF2B5EF4-FFF2-40B4-BE49-F238E27FC236}">
                <a16:creationId xmlns:a16="http://schemas.microsoft.com/office/drawing/2014/main" id="{C5DF93B0-A6CF-4C4D-B308-93829705E985}"/>
              </a:ext>
            </a:extLst>
          </p:cNvPr>
          <p:cNvSpPr txBox="1"/>
          <p:nvPr/>
        </p:nvSpPr>
        <p:spPr>
          <a:xfrm>
            <a:off x="7474320" y="2846868"/>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Barbados - 87%</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287.7k population</a:t>
            </a:r>
          </a:p>
        </p:txBody>
      </p:sp>
      <p:sp>
        <p:nvSpPr>
          <p:cNvPr id="40" name="Freeform 86">
            <a:extLst>
              <a:ext uri="{FF2B5EF4-FFF2-40B4-BE49-F238E27FC236}">
                <a16:creationId xmlns:a16="http://schemas.microsoft.com/office/drawing/2014/main" id="{44D67779-C4B6-D34D-93D1-FCD5BF7EE4F7}"/>
              </a:ext>
            </a:extLst>
          </p:cNvPr>
          <p:cNvSpPr>
            <a:spLocks noChangeAspect="1" noChangeArrowheads="1"/>
          </p:cNvSpPr>
          <p:nvPr/>
        </p:nvSpPr>
        <p:spPr bwMode="auto">
          <a:xfrm>
            <a:off x="9777793" y="3744931"/>
            <a:ext cx="467282" cy="467312"/>
          </a:xfrm>
          <a:prstGeom prst="ellipse">
            <a:avLst/>
          </a:prstGeom>
          <a:solidFill>
            <a:schemeClr val="bg2"/>
          </a:solidFill>
          <a:ln w="57150">
            <a:noFill/>
          </a:ln>
          <a:effectLst/>
        </p:spPr>
        <p:txBody>
          <a:bodyPr wrap="none" anchor="ctr"/>
          <a:lstStyle/>
          <a:p>
            <a:endParaRPr lang="en-US" sz="7464" b="1" dirty="0">
              <a:latin typeface="Roboto Bold" charset="0"/>
            </a:endParaRPr>
          </a:p>
        </p:txBody>
      </p:sp>
      <p:sp>
        <p:nvSpPr>
          <p:cNvPr id="42" name="Freeform 86">
            <a:extLst>
              <a:ext uri="{FF2B5EF4-FFF2-40B4-BE49-F238E27FC236}">
                <a16:creationId xmlns:a16="http://schemas.microsoft.com/office/drawing/2014/main" id="{A81EA3ED-F1C5-5348-849A-235D75D041CC}"/>
              </a:ext>
            </a:extLst>
          </p:cNvPr>
          <p:cNvSpPr>
            <a:spLocks noChangeAspect="1" noChangeArrowheads="1"/>
          </p:cNvSpPr>
          <p:nvPr/>
        </p:nvSpPr>
        <p:spPr bwMode="auto">
          <a:xfrm>
            <a:off x="2454998" y="5765714"/>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43" name="Pie 42">
            <a:extLst>
              <a:ext uri="{FF2B5EF4-FFF2-40B4-BE49-F238E27FC236}">
                <a16:creationId xmlns:a16="http://schemas.microsoft.com/office/drawing/2014/main" id="{2BA583B5-E282-0643-BD42-774CD9292876}"/>
              </a:ext>
            </a:extLst>
          </p:cNvPr>
          <p:cNvSpPr>
            <a:spLocks/>
          </p:cNvSpPr>
          <p:nvPr/>
        </p:nvSpPr>
        <p:spPr>
          <a:xfrm>
            <a:off x="2454375" y="5765684"/>
            <a:ext cx="467904" cy="467312"/>
          </a:xfrm>
          <a:prstGeom prst="pie">
            <a:avLst>
              <a:gd name="adj1" fmla="val 16193829"/>
              <a:gd name="adj2" fmla="val 7487933"/>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44" name="Freeform 86">
            <a:extLst>
              <a:ext uri="{FF2B5EF4-FFF2-40B4-BE49-F238E27FC236}">
                <a16:creationId xmlns:a16="http://schemas.microsoft.com/office/drawing/2014/main" id="{2055C0FA-64A2-A545-9CAD-7B3EC003ABBF}"/>
              </a:ext>
            </a:extLst>
          </p:cNvPr>
          <p:cNvSpPr>
            <a:spLocks noChangeAspect="1" noChangeArrowheads="1"/>
          </p:cNvSpPr>
          <p:nvPr/>
        </p:nvSpPr>
        <p:spPr bwMode="auto">
          <a:xfrm>
            <a:off x="7108663" y="3853310"/>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45" name="Pie 44">
            <a:extLst>
              <a:ext uri="{FF2B5EF4-FFF2-40B4-BE49-F238E27FC236}">
                <a16:creationId xmlns:a16="http://schemas.microsoft.com/office/drawing/2014/main" id="{E7FAC2D5-4C73-DB4D-A232-9CCF7443C168}"/>
              </a:ext>
            </a:extLst>
          </p:cNvPr>
          <p:cNvSpPr>
            <a:spLocks/>
          </p:cNvSpPr>
          <p:nvPr/>
        </p:nvSpPr>
        <p:spPr>
          <a:xfrm>
            <a:off x="7108040" y="3853280"/>
            <a:ext cx="467904" cy="467312"/>
          </a:xfrm>
          <a:prstGeom prst="pie">
            <a:avLst>
              <a:gd name="adj1" fmla="val 16193829"/>
              <a:gd name="adj2" fmla="val 12567563"/>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46" name="Freeform 86">
            <a:extLst>
              <a:ext uri="{FF2B5EF4-FFF2-40B4-BE49-F238E27FC236}">
                <a16:creationId xmlns:a16="http://schemas.microsoft.com/office/drawing/2014/main" id="{4CF8270E-2B7E-644E-B2AF-3A14F3AE5605}"/>
              </a:ext>
            </a:extLst>
          </p:cNvPr>
          <p:cNvSpPr>
            <a:spLocks noChangeAspect="1" noChangeArrowheads="1"/>
          </p:cNvSpPr>
          <p:nvPr/>
        </p:nvSpPr>
        <p:spPr bwMode="auto">
          <a:xfrm>
            <a:off x="5579727" y="3691033"/>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47" name="Pie 46">
            <a:extLst>
              <a:ext uri="{FF2B5EF4-FFF2-40B4-BE49-F238E27FC236}">
                <a16:creationId xmlns:a16="http://schemas.microsoft.com/office/drawing/2014/main" id="{58628F83-8946-5B43-A852-7A787AE3C6E0}"/>
              </a:ext>
            </a:extLst>
          </p:cNvPr>
          <p:cNvSpPr>
            <a:spLocks/>
          </p:cNvSpPr>
          <p:nvPr/>
        </p:nvSpPr>
        <p:spPr>
          <a:xfrm>
            <a:off x="5579104" y="3691003"/>
            <a:ext cx="467904" cy="467312"/>
          </a:xfrm>
          <a:prstGeom prst="pie">
            <a:avLst>
              <a:gd name="adj1" fmla="val 16193829"/>
              <a:gd name="adj2" fmla="val 12567868"/>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48" name="Freeform 86">
            <a:extLst>
              <a:ext uri="{FF2B5EF4-FFF2-40B4-BE49-F238E27FC236}">
                <a16:creationId xmlns:a16="http://schemas.microsoft.com/office/drawing/2014/main" id="{A6700E31-6630-8646-A26D-CD9129EE6308}"/>
              </a:ext>
            </a:extLst>
          </p:cNvPr>
          <p:cNvSpPr>
            <a:spLocks noChangeAspect="1" noChangeArrowheads="1"/>
          </p:cNvSpPr>
          <p:nvPr/>
        </p:nvSpPr>
        <p:spPr bwMode="auto">
          <a:xfrm>
            <a:off x="4591412" y="2730417"/>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49" name="Pie 48">
            <a:extLst>
              <a:ext uri="{FF2B5EF4-FFF2-40B4-BE49-F238E27FC236}">
                <a16:creationId xmlns:a16="http://schemas.microsoft.com/office/drawing/2014/main" id="{B0E03A4C-59E0-7B48-9A4C-0911169CEECA}"/>
              </a:ext>
            </a:extLst>
          </p:cNvPr>
          <p:cNvSpPr>
            <a:spLocks/>
          </p:cNvSpPr>
          <p:nvPr/>
        </p:nvSpPr>
        <p:spPr>
          <a:xfrm>
            <a:off x="4590789" y="2730387"/>
            <a:ext cx="467904" cy="467312"/>
          </a:xfrm>
          <a:prstGeom prst="pie">
            <a:avLst>
              <a:gd name="adj1" fmla="val 16193829"/>
              <a:gd name="adj2" fmla="val 11489174"/>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50" name="Freeform 86">
            <a:extLst>
              <a:ext uri="{FF2B5EF4-FFF2-40B4-BE49-F238E27FC236}">
                <a16:creationId xmlns:a16="http://schemas.microsoft.com/office/drawing/2014/main" id="{77082CF0-0E7B-9247-A7E2-DB96709B2047}"/>
              </a:ext>
            </a:extLst>
          </p:cNvPr>
          <p:cNvSpPr>
            <a:spLocks noChangeAspect="1" noChangeArrowheads="1"/>
          </p:cNvSpPr>
          <p:nvPr/>
        </p:nvSpPr>
        <p:spPr bwMode="auto">
          <a:xfrm>
            <a:off x="6416509" y="4968308"/>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51" name="Pie 50">
            <a:extLst>
              <a:ext uri="{FF2B5EF4-FFF2-40B4-BE49-F238E27FC236}">
                <a16:creationId xmlns:a16="http://schemas.microsoft.com/office/drawing/2014/main" id="{8D637559-79F2-384A-9FDA-488E35324E62}"/>
              </a:ext>
            </a:extLst>
          </p:cNvPr>
          <p:cNvSpPr>
            <a:spLocks/>
          </p:cNvSpPr>
          <p:nvPr/>
        </p:nvSpPr>
        <p:spPr>
          <a:xfrm>
            <a:off x="6415886" y="4968278"/>
            <a:ext cx="467904" cy="467312"/>
          </a:xfrm>
          <a:prstGeom prst="pie">
            <a:avLst>
              <a:gd name="adj1" fmla="val 16193829"/>
              <a:gd name="adj2" fmla="val 12675737"/>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54" name="TextBox 53">
            <a:extLst>
              <a:ext uri="{FF2B5EF4-FFF2-40B4-BE49-F238E27FC236}">
                <a16:creationId xmlns:a16="http://schemas.microsoft.com/office/drawing/2014/main" id="{C6B6A97F-E176-D64E-B9A2-235BB5F3DFA6}"/>
              </a:ext>
            </a:extLst>
          </p:cNvPr>
          <p:cNvSpPr txBox="1"/>
          <p:nvPr/>
        </p:nvSpPr>
        <p:spPr>
          <a:xfrm>
            <a:off x="7645254" y="6060549"/>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Anguilla - 9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5.2k population</a:t>
            </a:r>
          </a:p>
        </p:txBody>
      </p:sp>
      <p:sp>
        <p:nvSpPr>
          <p:cNvPr id="55" name="TextBox 54">
            <a:extLst>
              <a:ext uri="{FF2B5EF4-FFF2-40B4-BE49-F238E27FC236}">
                <a16:creationId xmlns:a16="http://schemas.microsoft.com/office/drawing/2014/main" id="{304521A4-6BDF-8B42-A782-891B4540F937}"/>
              </a:ext>
            </a:extLst>
          </p:cNvPr>
          <p:cNvSpPr txBox="1"/>
          <p:nvPr/>
        </p:nvSpPr>
        <p:spPr>
          <a:xfrm>
            <a:off x="9222707" y="4219940"/>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Cayman - 10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67k population</a:t>
            </a:r>
          </a:p>
        </p:txBody>
      </p:sp>
      <p:sp>
        <p:nvSpPr>
          <p:cNvPr id="56" name="TextBox 55">
            <a:extLst>
              <a:ext uri="{FF2B5EF4-FFF2-40B4-BE49-F238E27FC236}">
                <a16:creationId xmlns:a16="http://schemas.microsoft.com/office/drawing/2014/main" id="{07F79EBD-B05F-1443-8084-3E7F2A5E9073}"/>
              </a:ext>
            </a:extLst>
          </p:cNvPr>
          <p:cNvSpPr txBox="1"/>
          <p:nvPr/>
        </p:nvSpPr>
        <p:spPr>
          <a:xfrm>
            <a:off x="5903385" y="5435596"/>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BVI - 82%</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30.6k population</a:t>
            </a:r>
          </a:p>
        </p:txBody>
      </p:sp>
      <p:sp>
        <p:nvSpPr>
          <p:cNvPr id="57" name="TextBox 56">
            <a:extLst>
              <a:ext uri="{FF2B5EF4-FFF2-40B4-BE49-F238E27FC236}">
                <a16:creationId xmlns:a16="http://schemas.microsoft.com/office/drawing/2014/main" id="{E8353AF1-FD77-6849-9067-E10C35F5BC33}"/>
              </a:ext>
            </a:extLst>
          </p:cNvPr>
          <p:cNvSpPr txBox="1"/>
          <p:nvPr/>
        </p:nvSpPr>
        <p:spPr>
          <a:xfrm>
            <a:off x="4107052" y="3232349"/>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Grenada - 79%</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13.5k population</a:t>
            </a:r>
          </a:p>
        </p:txBody>
      </p:sp>
      <p:sp>
        <p:nvSpPr>
          <p:cNvPr id="58" name="TextBox 57">
            <a:extLst>
              <a:ext uri="{FF2B5EF4-FFF2-40B4-BE49-F238E27FC236}">
                <a16:creationId xmlns:a16="http://schemas.microsoft.com/office/drawing/2014/main" id="{77AA16F9-EFA0-E346-B9B0-B9B721053B39}"/>
              </a:ext>
            </a:extLst>
          </p:cNvPr>
          <p:cNvSpPr txBox="1"/>
          <p:nvPr/>
        </p:nvSpPr>
        <p:spPr>
          <a:xfrm>
            <a:off x="1899600" y="6282922"/>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Montserrat - 68%</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5k population</a:t>
            </a:r>
          </a:p>
        </p:txBody>
      </p:sp>
      <p:sp>
        <p:nvSpPr>
          <p:cNvPr id="59" name="TextBox 58">
            <a:extLst>
              <a:ext uri="{FF2B5EF4-FFF2-40B4-BE49-F238E27FC236}">
                <a16:creationId xmlns:a16="http://schemas.microsoft.com/office/drawing/2014/main" id="{84834435-F935-B741-8348-EACCB61A7EAA}"/>
              </a:ext>
            </a:extLst>
          </p:cNvPr>
          <p:cNvSpPr txBox="1"/>
          <p:nvPr/>
        </p:nvSpPr>
        <p:spPr>
          <a:xfrm>
            <a:off x="6542747" y="435841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St Kitts - 85%</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54k population</a:t>
            </a:r>
          </a:p>
        </p:txBody>
      </p:sp>
      <p:sp>
        <p:nvSpPr>
          <p:cNvPr id="60" name="Freeform 86">
            <a:extLst>
              <a:ext uri="{FF2B5EF4-FFF2-40B4-BE49-F238E27FC236}">
                <a16:creationId xmlns:a16="http://schemas.microsoft.com/office/drawing/2014/main" id="{B68A9BE3-2E9F-6846-BA6F-1703CFA5F244}"/>
              </a:ext>
            </a:extLst>
          </p:cNvPr>
          <p:cNvSpPr>
            <a:spLocks noChangeAspect="1" noChangeArrowheads="1"/>
          </p:cNvSpPr>
          <p:nvPr/>
        </p:nvSpPr>
        <p:spPr bwMode="auto">
          <a:xfrm>
            <a:off x="9310496" y="4781424"/>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61" name="Pie 60">
            <a:extLst>
              <a:ext uri="{FF2B5EF4-FFF2-40B4-BE49-F238E27FC236}">
                <a16:creationId xmlns:a16="http://schemas.microsoft.com/office/drawing/2014/main" id="{C5C400A0-2C89-2F4E-BFBB-1814CB83C4E1}"/>
              </a:ext>
            </a:extLst>
          </p:cNvPr>
          <p:cNvSpPr>
            <a:spLocks/>
          </p:cNvSpPr>
          <p:nvPr/>
        </p:nvSpPr>
        <p:spPr>
          <a:xfrm>
            <a:off x="9309873" y="4781394"/>
            <a:ext cx="467904" cy="467312"/>
          </a:xfrm>
          <a:prstGeom prst="pie">
            <a:avLst>
              <a:gd name="adj1" fmla="val 16193829"/>
              <a:gd name="adj2" fmla="val 14382702"/>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62" name="TextBox 61">
            <a:extLst>
              <a:ext uri="{FF2B5EF4-FFF2-40B4-BE49-F238E27FC236}">
                <a16:creationId xmlns:a16="http://schemas.microsoft.com/office/drawing/2014/main" id="{EA3DA50E-60C5-DC41-BC44-07781FF0DE25}"/>
              </a:ext>
            </a:extLst>
          </p:cNvPr>
          <p:cNvSpPr txBox="1"/>
          <p:nvPr/>
        </p:nvSpPr>
        <p:spPr>
          <a:xfrm>
            <a:off x="8785328" y="5263099"/>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Turks – 94%</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39.8k population</a:t>
            </a:r>
          </a:p>
        </p:txBody>
      </p:sp>
      <p:sp>
        <p:nvSpPr>
          <p:cNvPr id="63" name="TextBox 62">
            <a:extLst>
              <a:ext uri="{FF2B5EF4-FFF2-40B4-BE49-F238E27FC236}">
                <a16:creationId xmlns:a16="http://schemas.microsoft.com/office/drawing/2014/main" id="{026BC782-EAF5-E843-9C1C-642DEEEEB6A2}"/>
              </a:ext>
            </a:extLst>
          </p:cNvPr>
          <p:cNvSpPr txBox="1"/>
          <p:nvPr/>
        </p:nvSpPr>
        <p:spPr>
          <a:xfrm>
            <a:off x="5018468" y="4177325"/>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Antigua - 8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99.5k population</a:t>
            </a:r>
          </a:p>
        </p:txBody>
      </p:sp>
      <p:sp>
        <p:nvSpPr>
          <p:cNvPr id="64" name="Freeform 86">
            <a:extLst>
              <a:ext uri="{FF2B5EF4-FFF2-40B4-BE49-F238E27FC236}">
                <a16:creationId xmlns:a16="http://schemas.microsoft.com/office/drawing/2014/main" id="{EBC70604-EECD-CA43-893F-044D7D307D7C}"/>
              </a:ext>
            </a:extLst>
          </p:cNvPr>
          <p:cNvSpPr>
            <a:spLocks noChangeAspect="1" noChangeArrowheads="1"/>
          </p:cNvSpPr>
          <p:nvPr/>
        </p:nvSpPr>
        <p:spPr bwMode="auto">
          <a:xfrm>
            <a:off x="7577444" y="1053447"/>
            <a:ext cx="662968" cy="663011"/>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65" name="Pie 64">
            <a:extLst>
              <a:ext uri="{FF2B5EF4-FFF2-40B4-BE49-F238E27FC236}">
                <a16:creationId xmlns:a16="http://schemas.microsoft.com/office/drawing/2014/main" id="{134F9D26-ECA0-CC4E-B169-6E9EF5892A7F}"/>
              </a:ext>
            </a:extLst>
          </p:cNvPr>
          <p:cNvSpPr>
            <a:spLocks/>
          </p:cNvSpPr>
          <p:nvPr/>
        </p:nvSpPr>
        <p:spPr>
          <a:xfrm>
            <a:off x="7576562" y="1053404"/>
            <a:ext cx="663851" cy="663011"/>
          </a:xfrm>
          <a:prstGeom prst="pie">
            <a:avLst>
              <a:gd name="adj1" fmla="val 16193829"/>
              <a:gd name="adj2" fmla="val 13249746"/>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66" name="TextBox 65">
            <a:extLst>
              <a:ext uri="{FF2B5EF4-FFF2-40B4-BE49-F238E27FC236}">
                <a16:creationId xmlns:a16="http://schemas.microsoft.com/office/drawing/2014/main" id="{150F4641-90CE-3846-B916-6B5CB9671E7C}"/>
              </a:ext>
            </a:extLst>
          </p:cNvPr>
          <p:cNvSpPr txBox="1"/>
          <p:nvPr/>
        </p:nvSpPr>
        <p:spPr>
          <a:xfrm>
            <a:off x="7182261" y="1695907"/>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Bahamas - 86%</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416.1k population</a:t>
            </a:r>
          </a:p>
        </p:txBody>
      </p:sp>
      <p:sp>
        <p:nvSpPr>
          <p:cNvPr id="67" name="Freeform 86">
            <a:extLst>
              <a:ext uri="{FF2B5EF4-FFF2-40B4-BE49-F238E27FC236}">
                <a16:creationId xmlns:a16="http://schemas.microsoft.com/office/drawing/2014/main" id="{CF9BA347-7AF4-F240-948F-BD702FE5EB66}"/>
              </a:ext>
            </a:extLst>
          </p:cNvPr>
          <p:cNvSpPr>
            <a:spLocks noChangeAspect="1" noChangeArrowheads="1"/>
          </p:cNvSpPr>
          <p:nvPr/>
        </p:nvSpPr>
        <p:spPr bwMode="auto">
          <a:xfrm>
            <a:off x="2981686" y="3948570"/>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68" name="Pie 67">
            <a:extLst>
              <a:ext uri="{FF2B5EF4-FFF2-40B4-BE49-F238E27FC236}">
                <a16:creationId xmlns:a16="http://schemas.microsoft.com/office/drawing/2014/main" id="{6A8B6540-273F-DD47-B4F4-82F60648B1FA}"/>
              </a:ext>
            </a:extLst>
          </p:cNvPr>
          <p:cNvSpPr>
            <a:spLocks/>
          </p:cNvSpPr>
          <p:nvPr/>
        </p:nvSpPr>
        <p:spPr>
          <a:xfrm>
            <a:off x="2981063" y="3948540"/>
            <a:ext cx="467904" cy="467312"/>
          </a:xfrm>
          <a:prstGeom prst="pie">
            <a:avLst>
              <a:gd name="adj1" fmla="val 16193829"/>
              <a:gd name="adj2" fmla="val 10302157"/>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69" name="TextBox 68">
            <a:extLst>
              <a:ext uri="{FF2B5EF4-FFF2-40B4-BE49-F238E27FC236}">
                <a16:creationId xmlns:a16="http://schemas.microsoft.com/office/drawing/2014/main" id="{905C4976-B599-4C4D-A030-9C50C794761E}"/>
              </a:ext>
            </a:extLst>
          </p:cNvPr>
          <p:cNvSpPr txBox="1"/>
          <p:nvPr/>
        </p:nvSpPr>
        <p:spPr>
          <a:xfrm>
            <a:off x="2426288" y="447302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Dominica – 72%</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72.3k population</a:t>
            </a:r>
          </a:p>
        </p:txBody>
      </p:sp>
      <p:sp>
        <p:nvSpPr>
          <p:cNvPr id="70" name="Freeform 86">
            <a:extLst>
              <a:ext uri="{FF2B5EF4-FFF2-40B4-BE49-F238E27FC236}">
                <a16:creationId xmlns:a16="http://schemas.microsoft.com/office/drawing/2014/main" id="{18659946-4DCE-CB44-B9C0-8C863744DC27}"/>
              </a:ext>
            </a:extLst>
          </p:cNvPr>
          <p:cNvSpPr>
            <a:spLocks noChangeAspect="1" noChangeArrowheads="1"/>
          </p:cNvSpPr>
          <p:nvPr/>
        </p:nvSpPr>
        <p:spPr bwMode="auto">
          <a:xfrm>
            <a:off x="3179677" y="2803298"/>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71" name="Pie 70">
            <a:extLst>
              <a:ext uri="{FF2B5EF4-FFF2-40B4-BE49-F238E27FC236}">
                <a16:creationId xmlns:a16="http://schemas.microsoft.com/office/drawing/2014/main" id="{35B43808-A0E5-9940-B680-8A8CB7AED526}"/>
              </a:ext>
            </a:extLst>
          </p:cNvPr>
          <p:cNvSpPr>
            <a:spLocks/>
          </p:cNvSpPr>
          <p:nvPr/>
        </p:nvSpPr>
        <p:spPr>
          <a:xfrm>
            <a:off x="3179054" y="2803268"/>
            <a:ext cx="467904" cy="467312"/>
          </a:xfrm>
          <a:prstGeom prst="pie">
            <a:avLst>
              <a:gd name="adj1" fmla="val 16193829"/>
              <a:gd name="adj2" fmla="val 11080366"/>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72" name="TextBox 71">
            <a:extLst>
              <a:ext uri="{FF2B5EF4-FFF2-40B4-BE49-F238E27FC236}">
                <a16:creationId xmlns:a16="http://schemas.microsoft.com/office/drawing/2014/main" id="{0EB7115F-63E8-C44E-BB28-2F3F3122725F}"/>
              </a:ext>
            </a:extLst>
          </p:cNvPr>
          <p:cNvSpPr txBox="1"/>
          <p:nvPr/>
        </p:nvSpPr>
        <p:spPr>
          <a:xfrm>
            <a:off x="2534875" y="329263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St Lucia - 77%</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85k population</a:t>
            </a:r>
          </a:p>
        </p:txBody>
      </p:sp>
      <p:sp>
        <p:nvSpPr>
          <p:cNvPr id="75" name="Freeform 86">
            <a:extLst>
              <a:ext uri="{FF2B5EF4-FFF2-40B4-BE49-F238E27FC236}">
                <a16:creationId xmlns:a16="http://schemas.microsoft.com/office/drawing/2014/main" id="{D639CBDB-5B6B-8649-ADBD-DD137B8803AB}"/>
              </a:ext>
            </a:extLst>
          </p:cNvPr>
          <p:cNvSpPr>
            <a:spLocks noChangeAspect="1" noChangeArrowheads="1"/>
          </p:cNvSpPr>
          <p:nvPr/>
        </p:nvSpPr>
        <p:spPr bwMode="auto">
          <a:xfrm>
            <a:off x="6367159" y="2712098"/>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76" name="Pie 75">
            <a:extLst>
              <a:ext uri="{FF2B5EF4-FFF2-40B4-BE49-F238E27FC236}">
                <a16:creationId xmlns:a16="http://schemas.microsoft.com/office/drawing/2014/main" id="{63C9DE17-A7A3-3643-8FE9-991175EC3399}"/>
              </a:ext>
            </a:extLst>
          </p:cNvPr>
          <p:cNvSpPr>
            <a:spLocks/>
          </p:cNvSpPr>
          <p:nvPr/>
        </p:nvSpPr>
        <p:spPr>
          <a:xfrm>
            <a:off x="6366536" y="2712068"/>
            <a:ext cx="467904" cy="467312"/>
          </a:xfrm>
          <a:prstGeom prst="pie">
            <a:avLst>
              <a:gd name="adj1" fmla="val 16193829"/>
              <a:gd name="adj2" fmla="val 12493488"/>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77" name="TextBox 76">
            <a:extLst>
              <a:ext uri="{FF2B5EF4-FFF2-40B4-BE49-F238E27FC236}">
                <a16:creationId xmlns:a16="http://schemas.microsoft.com/office/drawing/2014/main" id="{1CAA2166-ADB1-8446-933F-1161B929F2AB}"/>
              </a:ext>
            </a:extLst>
          </p:cNvPr>
          <p:cNvSpPr txBox="1"/>
          <p:nvPr/>
        </p:nvSpPr>
        <p:spPr>
          <a:xfrm>
            <a:off x="5832184" y="3209225"/>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St Vincent - 82%</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09k population</a:t>
            </a:r>
          </a:p>
        </p:txBody>
      </p:sp>
      <p:sp>
        <p:nvSpPr>
          <p:cNvPr id="82" name="Freeform 86">
            <a:extLst>
              <a:ext uri="{FF2B5EF4-FFF2-40B4-BE49-F238E27FC236}">
                <a16:creationId xmlns:a16="http://schemas.microsoft.com/office/drawing/2014/main" id="{95E3244B-6BFA-8D46-B6B0-0C80B3383B9C}"/>
              </a:ext>
            </a:extLst>
          </p:cNvPr>
          <p:cNvSpPr>
            <a:spLocks noChangeAspect="1" noChangeArrowheads="1"/>
          </p:cNvSpPr>
          <p:nvPr/>
        </p:nvSpPr>
        <p:spPr bwMode="auto">
          <a:xfrm>
            <a:off x="9283174" y="2705601"/>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83" name="Pie 82">
            <a:extLst>
              <a:ext uri="{FF2B5EF4-FFF2-40B4-BE49-F238E27FC236}">
                <a16:creationId xmlns:a16="http://schemas.microsoft.com/office/drawing/2014/main" id="{6BE4D0DB-A5DE-2743-9586-62E44BAF633C}"/>
              </a:ext>
            </a:extLst>
          </p:cNvPr>
          <p:cNvSpPr>
            <a:spLocks/>
          </p:cNvSpPr>
          <p:nvPr/>
        </p:nvSpPr>
        <p:spPr>
          <a:xfrm>
            <a:off x="9282551" y="2705571"/>
            <a:ext cx="467904" cy="467312"/>
          </a:xfrm>
          <a:prstGeom prst="pie">
            <a:avLst>
              <a:gd name="adj1" fmla="val 16193829"/>
              <a:gd name="adj2" fmla="val 13319760"/>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84" name="TextBox 83">
            <a:extLst>
              <a:ext uri="{FF2B5EF4-FFF2-40B4-BE49-F238E27FC236}">
                <a16:creationId xmlns:a16="http://schemas.microsoft.com/office/drawing/2014/main" id="{558D38B2-04EF-6A4E-B350-46414973A4DF}"/>
              </a:ext>
            </a:extLst>
          </p:cNvPr>
          <p:cNvSpPr txBox="1"/>
          <p:nvPr/>
        </p:nvSpPr>
        <p:spPr>
          <a:xfrm>
            <a:off x="8755097" y="3209781"/>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Curacao – 92%</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65.2k population</a:t>
            </a:r>
          </a:p>
        </p:txBody>
      </p:sp>
      <p:sp>
        <p:nvSpPr>
          <p:cNvPr id="87" name="Freeform 86">
            <a:extLst>
              <a:ext uri="{FF2B5EF4-FFF2-40B4-BE49-F238E27FC236}">
                <a16:creationId xmlns:a16="http://schemas.microsoft.com/office/drawing/2014/main" id="{21722414-0EDC-9C49-B2F5-33547C5F7A64}"/>
              </a:ext>
            </a:extLst>
          </p:cNvPr>
          <p:cNvSpPr>
            <a:spLocks noChangeAspect="1" noChangeArrowheads="1"/>
          </p:cNvSpPr>
          <p:nvPr/>
        </p:nvSpPr>
        <p:spPr bwMode="auto">
          <a:xfrm>
            <a:off x="8117810" y="4477925"/>
            <a:ext cx="467282" cy="467312"/>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88" name="Pie 87">
            <a:extLst>
              <a:ext uri="{FF2B5EF4-FFF2-40B4-BE49-F238E27FC236}">
                <a16:creationId xmlns:a16="http://schemas.microsoft.com/office/drawing/2014/main" id="{5D5FA15B-21BF-8F49-9391-A3014B6F2699}"/>
              </a:ext>
            </a:extLst>
          </p:cNvPr>
          <p:cNvSpPr>
            <a:spLocks/>
          </p:cNvSpPr>
          <p:nvPr/>
        </p:nvSpPr>
        <p:spPr>
          <a:xfrm>
            <a:off x="8117187" y="4477895"/>
            <a:ext cx="467904" cy="467312"/>
          </a:xfrm>
          <a:prstGeom prst="pie">
            <a:avLst>
              <a:gd name="adj1" fmla="val 16193829"/>
              <a:gd name="adj2" fmla="val 13741920"/>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89" name="TextBox 88">
            <a:extLst>
              <a:ext uri="{FF2B5EF4-FFF2-40B4-BE49-F238E27FC236}">
                <a16:creationId xmlns:a16="http://schemas.microsoft.com/office/drawing/2014/main" id="{01F1A57F-81E9-0A4B-935D-B287180D4D11}"/>
              </a:ext>
            </a:extLst>
          </p:cNvPr>
          <p:cNvSpPr txBox="1"/>
          <p:nvPr/>
        </p:nvSpPr>
        <p:spPr>
          <a:xfrm>
            <a:off x="7148647" y="4987716"/>
            <a:ext cx="2321915"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Dutch St Maarten – 9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43.7k population</a:t>
            </a:r>
          </a:p>
        </p:txBody>
      </p:sp>
      <p:sp>
        <p:nvSpPr>
          <p:cNvPr id="74" name="Freeform 86">
            <a:extLst>
              <a:ext uri="{FF2B5EF4-FFF2-40B4-BE49-F238E27FC236}">
                <a16:creationId xmlns:a16="http://schemas.microsoft.com/office/drawing/2014/main" id="{243FA93E-70FF-B1A2-393B-4C135AED4C39}"/>
              </a:ext>
            </a:extLst>
          </p:cNvPr>
          <p:cNvSpPr>
            <a:spLocks noChangeAspect="1" noChangeArrowheads="1"/>
          </p:cNvSpPr>
          <p:nvPr/>
        </p:nvSpPr>
        <p:spPr bwMode="auto">
          <a:xfrm>
            <a:off x="9383516" y="533689"/>
            <a:ext cx="887933" cy="887990"/>
          </a:xfrm>
          <a:prstGeom prst="ellipse">
            <a:avLst/>
          </a:prstGeom>
          <a:solidFill>
            <a:schemeClr val="bg2"/>
          </a:solidFill>
          <a:ln w="57150">
            <a:noFill/>
          </a:ln>
          <a:effectLst/>
        </p:spPr>
        <p:txBody>
          <a:bodyPr wrap="none" anchor="ctr"/>
          <a:lstStyle/>
          <a:p>
            <a:endParaRPr lang="en-US" sz="7464" b="1" dirty="0">
              <a:latin typeface="Roboto Bold" charset="0"/>
            </a:endParaRPr>
          </a:p>
        </p:txBody>
      </p:sp>
      <p:sp>
        <p:nvSpPr>
          <p:cNvPr id="80" name="TextBox 79">
            <a:extLst>
              <a:ext uri="{FF2B5EF4-FFF2-40B4-BE49-F238E27FC236}">
                <a16:creationId xmlns:a16="http://schemas.microsoft.com/office/drawing/2014/main" id="{D3832FC5-EE00-AB5A-ADC5-4BD6051FD579}"/>
              </a:ext>
            </a:extLst>
          </p:cNvPr>
          <p:cNvSpPr txBox="1"/>
          <p:nvPr/>
        </p:nvSpPr>
        <p:spPr>
          <a:xfrm>
            <a:off x="8920381" y="1447143"/>
            <a:ext cx="1997636"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Puerto Rico – 100%</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2.8M population</a:t>
            </a:r>
          </a:p>
        </p:txBody>
      </p:sp>
      <p:sp>
        <p:nvSpPr>
          <p:cNvPr id="81" name="Freeform 86">
            <a:extLst>
              <a:ext uri="{FF2B5EF4-FFF2-40B4-BE49-F238E27FC236}">
                <a16:creationId xmlns:a16="http://schemas.microsoft.com/office/drawing/2014/main" id="{51BF695E-33CD-2F1C-C7BB-6363F0B76850}"/>
              </a:ext>
            </a:extLst>
          </p:cNvPr>
          <p:cNvSpPr>
            <a:spLocks noChangeAspect="1" noChangeArrowheads="1"/>
          </p:cNvSpPr>
          <p:nvPr/>
        </p:nvSpPr>
        <p:spPr bwMode="auto">
          <a:xfrm>
            <a:off x="5393931" y="823942"/>
            <a:ext cx="887933" cy="887990"/>
          </a:xfrm>
          <a:prstGeom prst="ellipse">
            <a:avLst/>
          </a:prstGeom>
          <a:solidFill>
            <a:schemeClr val="bg2">
              <a:lumMod val="40000"/>
              <a:lumOff val="60000"/>
            </a:schemeClr>
          </a:solidFill>
          <a:ln w="57150">
            <a:noFill/>
          </a:ln>
          <a:effectLst/>
        </p:spPr>
        <p:txBody>
          <a:bodyPr wrap="none" anchor="ctr"/>
          <a:lstStyle/>
          <a:p>
            <a:endParaRPr lang="en-US" sz="7464" b="1" dirty="0">
              <a:latin typeface="Roboto Bold" charset="0"/>
            </a:endParaRPr>
          </a:p>
        </p:txBody>
      </p:sp>
      <p:sp>
        <p:nvSpPr>
          <p:cNvPr id="85" name="Pie 84">
            <a:extLst>
              <a:ext uri="{FF2B5EF4-FFF2-40B4-BE49-F238E27FC236}">
                <a16:creationId xmlns:a16="http://schemas.microsoft.com/office/drawing/2014/main" id="{EC5BBA6E-B60C-8A09-E688-40FF90A20449}"/>
              </a:ext>
            </a:extLst>
          </p:cNvPr>
          <p:cNvSpPr>
            <a:spLocks/>
          </p:cNvSpPr>
          <p:nvPr/>
        </p:nvSpPr>
        <p:spPr>
          <a:xfrm>
            <a:off x="5392748" y="823885"/>
            <a:ext cx="889115" cy="887990"/>
          </a:xfrm>
          <a:prstGeom prst="pie">
            <a:avLst>
              <a:gd name="adj1" fmla="val 16193829"/>
              <a:gd name="adj2" fmla="val 11947210"/>
            </a:avLst>
          </a:prstGeom>
          <a:solidFill>
            <a:schemeClr val="bg2"/>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86" name="TextBox 85">
            <a:extLst>
              <a:ext uri="{FF2B5EF4-FFF2-40B4-BE49-F238E27FC236}">
                <a16:creationId xmlns:a16="http://schemas.microsoft.com/office/drawing/2014/main" id="{B2630C94-58C1-E14E-D4CE-BD9E17E7DDD4}"/>
              </a:ext>
            </a:extLst>
          </p:cNvPr>
          <p:cNvSpPr txBox="1"/>
          <p:nvPr/>
        </p:nvSpPr>
        <p:spPr>
          <a:xfrm>
            <a:off x="5072385" y="1740687"/>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Trinidad - 81%</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4M population</a:t>
            </a:r>
          </a:p>
        </p:txBody>
      </p:sp>
      <p:sp>
        <p:nvSpPr>
          <p:cNvPr id="90" name="Freeform 86">
            <a:extLst>
              <a:ext uri="{FF2B5EF4-FFF2-40B4-BE49-F238E27FC236}">
                <a16:creationId xmlns:a16="http://schemas.microsoft.com/office/drawing/2014/main" id="{36FE8329-7009-5DE9-A856-E95900D18134}"/>
              </a:ext>
            </a:extLst>
          </p:cNvPr>
          <p:cNvSpPr>
            <a:spLocks noChangeAspect="1" noChangeArrowheads="1"/>
          </p:cNvSpPr>
          <p:nvPr/>
        </p:nvSpPr>
        <p:spPr bwMode="auto">
          <a:xfrm>
            <a:off x="1825632" y="2951436"/>
            <a:ext cx="467282" cy="467312"/>
          </a:xfrm>
          <a:prstGeom prst="ellipse">
            <a:avLst/>
          </a:prstGeom>
          <a:solidFill>
            <a:schemeClr val="bg1">
              <a:lumMod val="75000"/>
            </a:schemeClr>
          </a:solidFill>
          <a:ln w="57150">
            <a:noFill/>
          </a:ln>
          <a:effectLst/>
        </p:spPr>
        <p:txBody>
          <a:bodyPr wrap="none" anchor="ctr"/>
          <a:lstStyle/>
          <a:p>
            <a:endParaRPr lang="en-US" sz="7464" b="1" dirty="0">
              <a:latin typeface="Roboto Bold" charset="0"/>
            </a:endParaRPr>
          </a:p>
        </p:txBody>
      </p:sp>
      <p:sp>
        <p:nvSpPr>
          <p:cNvPr id="91" name="Pie 90">
            <a:extLst>
              <a:ext uri="{FF2B5EF4-FFF2-40B4-BE49-F238E27FC236}">
                <a16:creationId xmlns:a16="http://schemas.microsoft.com/office/drawing/2014/main" id="{502DAB97-ED0D-293C-91BA-1EB47C3E3C63}"/>
              </a:ext>
            </a:extLst>
          </p:cNvPr>
          <p:cNvSpPr>
            <a:spLocks/>
          </p:cNvSpPr>
          <p:nvPr/>
        </p:nvSpPr>
        <p:spPr>
          <a:xfrm>
            <a:off x="1825009" y="2951406"/>
            <a:ext cx="467904" cy="467312"/>
          </a:xfrm>
          <a:prstGeom prst="pie">
            <a:avLst>
              <a:gd name="adj1" fmla="val 16193829"/>
              <a:gd name="adj2" fmla="val 7530389"/>
            </a:avLst>
          </a:prstGeom>
          <a:solidFill>
            <a:schemeClr val="accent6">
              <a:lumMod val="50000"/>
            </a:schemeClr>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675" dirty="0">
              <a:solidFill>
                <a:schemeClr val="tx1"/>
              </a:solidFill>
              <a:latin typeface="Roboto Light" panose="02000000000000000000" pitchFamily="2" charset="0"/>
            </a:endParaRPr>
          </a:p>
        </p:txBody>
      </p:sp>
      <p:sp>
        <p:nvSpPr>
          <p:cNvPr id="92" name="TextBox 91">
            <a:extLst>
              <a:ext uri="{FF2B5EF4-FFF2-40B4-BE49-F238E27FC236}">
                <a16:creationId xmlns:a16="http://schemas.microsoft.com/office/drawing/2014/main" id="{1EBF6281-EC71-BF95-2F42-D98D36C56017}"/>
              </a:ext>
            </a:extLst>
          </p:cNvPr>
          <p:cNvSpPr txBox="1"/>
          <p:nvPr/>
        </p:nvSpPr>
        <p:spPr>
          <a:xfrm>
            <a:off x="1235454" y="3455654"/>
            <a:ext cx="1577453" cy="477054"/>
          </a:xfrm>
          <a:prstGeom prst="rect">
            <a:avLst/>
          </a:prstGeom>
          <a:noFill/>
        </p:spPr>
        <p:txBody>
          <a:bodyPr wrap="square" rtlCol="0" anchor="ctr">
            <a:spAutoFit/>
          </a:bodyPr>
          <a:lstStyle/>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USVI – 65%</a:t>
            </a:r>
          </a:p>
          <a:p>
            <a:pPr algn="ctr">
              <a:lnSpc>
                <a:spcPts val="1500"/>
              </a:lnSpc>
            </a:pPr>
            <a:r>
              <a:rPr lang="en-US" sz="1400" b="1" dirty="0">
                <a:latin typeface="Roboto Light" panose="02000000000000000000" pitchFamily="2" charset="0"/>
                <a:ea typeface="Roboto Light" panose="02000000000000000000" pitchFamily="2" charset="0"/>
                <a:cs typeface="Open Sans Light" panose="020B0306030504020204" pitchFamily="34" charset="0"/>
              </a:rPr>
              <a:t>104.2k population</a:t>
            </a:r>
          </a:p>
        </p:txBody>
      </p:sp>
      <p:sp>
        <p:nvSpPr>
          <p:cNvPr id="93" name="TextBox 92">
            <a:extLst>
              <a:ext uri="{FF2B5EF4-FFF2-40B4-BE49-F238E27FC236}">
                <a16:creationId xmlns:a16="http://schemas.microsoft.com/office/drawing/2014/main" id="{19A2A478-B6DE-B9D2-DDF3-93B0FA970EF8}"/>
              </a:ext>
            </a:extLst>
          </p:cNvPr>
          <p:cNvSpPr txBox="1"/>
          <p:nvPr/>
        </p:nvSpPr>
        <p:spPr>
          <a:xfrm>
            <a:off x="3921381" y="6594730"/>
            <a:ext cx="3821606" cy="339195"/>
          </a:xfrm>
          <a:prstGeom prst="rect">
            <a:avLst/>
          </a:prstGeom>
          <a:noFill/>
        </p:spPr>
        <p:txBody>
          <a:bodyPr wrap="square">
            <a:spAutoFit/>
          </a:bodyPr>
          <a:lstStyle/>
          <a:p>
            <a:pPr>
              <a:lnSpc>
                <a:spcPts val="1500"/>
              </a:lnSpc>
            </a:pPr>
            <a:r>
              <a:rPr lang="en-US" sz="3200" b="1" dirty="0">
                <a:solidFill>
                  <a:srgbClr val="FF0000"/>
                </a:solidFill>
                <a:latin typeface="Roboto Light" panose="02000000000000000000" pitchFamily="2" charset="0"/>
                <a:ea typeface="Roboto Light" panose="02000000000000000000" pitchFamily="2" charset="0"/>
                <a:cs typeface="Open Sans Light" panose="020B0306030504020204" pitchFamily="34" charset="0"/>
              </a:rPr>
              <a:t>Internet Penetration</a:t>
            </a:r>
          </a:p>
        </p:txBody>
      </p:sp>
      <p:sp>
        <p:nvSpPr>
          <p:cNvPr id="96" name="Title 1">
            <a:extLst>
              <a:ext uri="{FF2B5EF4-FFF2-40B4-BE49-F238E27FC236}">
                <a16:creationId xmlns:a16="http://schemas.microsoft.com/office/drawing/2014/main" id="{EF4ED24F-D33E-680C-05D6-A26BDD87C83C}"/>
              </a:ext>
            </a:extLst>
          </p:cNvPr>
          <p:cNvSpPr txBox="1">
            <a:spLocks/>
          </p:cNvSpPr>
          <p:nvPr/>
        </p:nvSpPr>
        <p:spPr>
          <a:xfrm>
            <a:off x="7619" y="6412"/>
            <a:ext cx="6356111"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Caribbean Internet Penetration</a:t>
            </a:r>
          </a:p>
        </p:txBody>
      </p:sp>
      <p:sp>
        <p:nvSpPr>
          <p:cNvPr id="2" name="TextBox 1">
            <a:extLst>
              <a:ext uri="{FF2B5EF4-FFF2-40B4-BE49-F238E27FC236}">
                <a16:creationId xmlns:a16="http://schemas.microsoft.com/office/drawing/2014/main" id="{923CCBAB-CB19-799D-EDCE-AF8F57BC0FD0}"/>
              </a:ext>
            </a:extLst>
          </p:cNvPr>
          <p:cNvSpPr txBox="1"/>
          <p:nvPr/>
        </p:nvSpPr>
        <p:spPr>
          <a:xfrm rot="16200000">
            <a:off x="-1017527" y="3084846"/>
            <a:ext cx="2901392" cy="352019"/>
          </a:xfrm>
          <a:prstGeom prst="rect">
            <a:avLst/>
          </a:prstGeom>
          <a:noFill/>
        </p:spPr>
        <p:txBody>
          <a:bodyPr wrap="square">
            <a:spAutoFit/>
          </a:bodyPr>
          <a:lstStyle/>
          <a:p>
            <a:pPr algn="ctr">
              <a:lnSpc>
                <a:spcPts val="1500"/>
              </a:lnSpc>
            </a:pPr>
            <a:r>
              <a:rPr lang="en-US" sz="3200" b="1" dirty="0">
                <a:solidFill>
                  <a:srgbClr val="FF0000"/>
                </a:solidFill>
                <a:latin typeface="Roboto Light" panose="02000000000000000000" pitchFamily="2" charset="0"/>
                <a:ea typeface="Roboto Light" panose="02000000000000000000" pitchFamily="2" charset="0"/>
                <a:cs typeface="Open Sans Light" panose="020B0306030504020204" pitchFamily="34" charset="0"/>
              </a:rPr>
              <a:t>Population</a:t>
            </a:r>
            <a:endParaRPr lang="en-US" sz="3600" b="1" dirty="0">
              <a:solidFill>
                <a:srgbClr val="FF0000"/>
              </a:solidFill>
              <a:latin typeface="Roboto Light" panose="02000000000000000000" pitchFamily="2" charset="0"/>
              <a:ea typeface="Roboto Light" panose="02000000000000000000" pitchFamily="2" charset="0"/>
              <a:cs typeface="Open Sans Light" panose="020B0306030504020204" pitchFamily="34" charset="0"/>
            </a:endParaRPr>
          </a:p>
        </p:txBody>
      </p:sp>
    </p:spTree>
    <p:extLst>
      <p:ext uri="{BB962C8B-B14F-4D97-AF65-F5344CB8AC3E}">
        <p14:creationId xmlns:p14="http://schemas.microsoft.com/office/powerpoint/2010/main" val="37346021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E9DA093-BC64-CAD8-2915-599DB72F0F22}"/>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6625" name="think-cell Slide" r:id="rId4" imgW="7772400" imgH="10058400" progId="TCLayout.ActiveDocument.1">
                  <p:embed/>
                </p:oleObj>
              </mc:Choice>
              <mc:Fallback>
                <p:oleObj name="think-cell Slide" r:id="rId4" imgW="7772400" imgH="10058400" progId="TCLayout.ActiveDocument.1">
                  <p:embed/>
                  <p:pic>
                    <p:nvPicPr>
                      <p:cNvPr id="4" name="Object 3" hidden="1">
                        <a:extLst>
                          <a:ext uri="{FF2B5EF4-FFF2-40B4-BE49-F238E27FC236}">
                            <a16:creationId xmlns:a16="http://schemas.microsoft.com/office/drawing/2014/main" id="{DE9DA093-BC64-CAD8-2915-599DB72F0F22}"/>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51" name="Picture 50">
            <a:extLst>
              <a:ext uri="{FF2B5EF4-FFF2-40B4-BE49-F238E27FC236}">
                <a16:creationId xmlns:a16="http://schemas.microsoft.com/office/drawing/2014/main" id="{62A0CCA8-D05F-74EA-1652-3C97C69604DD}"/>
              </a:ext>
            </a:extLst>
          </p:cNvPr>
          <p:cNvPicPr>
            <a:picLocks noChangeAspect="1"/>
          </p:cNvPicPr>
          <p:nvPr/>
        </p:nvPicPr>
        <p:blipFill>
          <a:blip r:embed="rId6">
            <a:alphaModFix amt="11000"/>
          </a:blip>
          <a:stretch>
            <a:fillRect/>
          </a:stretch>
        </p:blipFill>
        <p:spPr>
          <a:xfrm>
            <a:off x="-1" y="0"/>
            <a:ext cx="12192001" cy="6858000"/>
          </a:xfrm>
          <a:prstGeom prst="rect">
            <a:avLst/>
          </a:prstGeom>
        </p:spPr>
      </p:pic>
      <p:sp>
        <p:nvSpPr>
          <p:cNvPr id="14" name="Shape 53">
            <a:extLst>
              <a:ext uri="{FF2B5EF4-FFF2-40B4-BE49-F238E27FC236}">
                <a16:creationId xmlns:a16="http://schemas.microsoft.com/office/drawing/2014/main" id="{F1819757-BD36-9C47-9065-991E22DDB693}"/>
              </a:ext>
            </a:extLst>
          </p:cNvPr>
          <p:cNvSpPr/>
          <p:nvPr/>
        </p:nvSpPr>
        <p:spPr>
          <a:xfrm>
            <a:off x="459342" y="2387600"/>
            <a:ext cx="2037141" cy="2045298"/>
          </a:xfrm>
          <a:prstGeom prst="ellipse">
            <a:avLst/>
          </a:prstGeom>
          <a:solidFill>
            <a:schemeClr val="bg2"/>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24" name="TextBox 23">
            <a:extLst>
              <a:ext uri="{FF2B5EF4-FFF2-40B4-BE49-F238E27FC236}">
                <a16:creationId xmlns:a16="http://schemas.microsoft.com/office/drawing/2014/main" id="{299544AA-D597-C34F-AD45-354CC551B3BA}"/>
              </a:ext>
            </a:extLst>
          </p:cNvPr>
          <p:cNvSpPr txBox="1"/>
          <p:nvPr/>
        </p:nvSpPr>
        <p:spPr>
          <a:xfrm>
            <a:off x="531970" y="1316725"/>
            <a:ext cx="1741331" cy="765338"/>
          </a:xfrm>
          <a:prstGeom prst="rect">
            <a:avLst/>
          </a:prstGeom>
          <a:noFill/>
        </p:spPr>
        <p:txBody>
          <a:bodyPr wrap="square" rtlCol="0" anchor="t">
            <a:spAutoFit/>
          </a:bodyPr>
          <a:lstStyle/>
          <a:p>
            <a:pPr algn="ctr">
              <a:lnSpc>
                <a:spcPts val="1750"/>
              </a:lnSpc>
              <a:spcBef>
                <a:spcPts val="900"/>
              </a:spcBef>
            </a:pPr>
            <a:r>
              <a:rPr lang="en-US" sz="1400" b="1" dirty="0">
                <a:latin typeface="+mj-lt"/>
                <a:ea typeface="Lato Light" panose="020F0502020204030203" pitchFamily="34" charset="0"/>
                <a:cs typeface="Lato Light" panose="020F0502020204030203" pitchFamily="34" charset="0"/>
              </a:rPr>
              <a:t>Average Speed of Fixed Internet Connections</a:t>
            </a:r>
          </a:p>
        </p:txBody>
      </p:sp>
      <p:sp>
        <p:nvSpPr>
          <p:cNvPr id="28" name="Shape 53">
            <a:extLst>
              <a:ext uri="{FF2B5EF4-FFF2-40B4-BE49-F238E27FC236}">
                <a16:creationId xmlns:a16="http://schemas.microsoft.com/office/drawing/2014/main" id="{C1A29D65-602E-590A-7E27-74FF2390CB5D}"/>
              </a:ext>
            </a:extLst>
          </p:cNvPr>
          <p:cNvSpPr/>
          <p:nvPr/>
        </p:nvSpPr>
        <p:spPr>
          <a:xfrm>
            <a:off x="2953790" y="2387600"/>
            <a:ext cx="2037141" cy="2045298"/>
          </a:xfrm>
          <a:prstGeom prst="ellipse">
            <a:avLst/>
          </a:prstGeom>
          <a:solidFill>
            <a:schemeClr val="accent6">
              <a:lumMod val="75000"/>
            </a:scheme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0" name="Shape 53">
            <a:extLst>
              <a:ext uri="{FF2B5EF4-FFF2-40B4-BE49-F238E27FC236}">
                <a16:creationId xmlns:a16="http://schemas.microsoft.com/office/drawing/2014/main" id="{2AE40188-B917-0790-4531-8858589607EF}"/>
              </a:ext>
            </a:extLst>
          </p:cNvPr>
          <p:cNvSpPr/>
          <p:nvPr/>
        </p:nvSpPr>
        <p:spPr>
          <a:xfrm>
            <a:off x="7194765" y="2385356"/>
            <a:ext cx="2037141" cy="2045298"/>
          </a:xfrm>
          <a:prstGeom prst="ellipse">
            <a:avLst/>
          </a:prstGeom>
          <a:solidFill>
            <a:schemeClr val="bg1">
              <a:lumMod val="75000"/>
            </a:schemeClr>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1" name="Shape 53">
            <a:extLst>
              <a:ext uri="{FF2B5EF4-FFF2-40B4-BE49-F238E27FC236}">
                <a16:creationId xmlns:a16="http://schemas.microsoft.com/office/drawing/2014/main" id="{D10B8604-E015-D5C9-7901-C24FD7306825}"/>
              </a:ext>
            </a:extLst>
          </p:cNvPr>
          <p:cNvSpPr/>
          <p:nvPr/>
        </p:nvSpPr>
        <p:spPr>
          <a:xfrm>
            <a:off x="9624334" y="2387600"/>
            <a:ext cx="2037141" cy="2045298"/>
          </a:xfrm>
          <a:prstGeom prst="ellipse">
            <a:avLst/>
          </a:prstGeom>
          <a:solidFill>
            <a:schemeClr val="accent4"/>
          </a:solidFill>
          <a:ln w="12700" cap="flat">
            <a:noFill/>
            <a:miter lim="400000"/>
          </a:ln>
          <a:effectLst/>
          <a:extLst>
            <a:ext uri="{C572A759-6A51-4108-AA02-DFA0A04FC94B}">
              <ma14:wrappingTextBoxFlag xmlns="" xmlns:ma14="http://schemas.microsoft.com/office/mac/drawingml/2011/main" val="1"/>
            </a:ext>
          </a:extLst>
        </p:spPr>
        <p:txBody>
          <a:bodyPr wrap="square" lIns="0" tIns="0" rIns="0" bIns="0" numCol="1" anchor="ctr">
            <a:noAutofit/>
          </a:bodyPr>
          <a:lstStyle>
            <a:lvl1pPr defTabSz="584200">
              <a:lnSpc>
                <a:spcPct val="100000"/>
              </a:lnSpc>
              <a:spcBef>
                <a:spcPts val="0"/>
              </a:spcBef>
              <a:defRPr sz="2500" cap="all">
                <a:solidFill>
                  <a:srgbClr val="FFFFFF"/>
                </a:solidFill>
                <a:latin typeface="Helvetica Neue Light"/>
                <a:ea typeface="Helvetica Neue Light"/>
                <a:cs typeface="Helvetica Neue Light"/>
                <a:sym typeface="Helvetica Neue Light"/>
              </a:defRPr>
            </a:lvl1pPr>
          </a:lstStyle>
          <a:p>
            <a:endParaRPr sz="1758" dirty="0">
              <a:latin typeface="Lato Light" panose="020F0502020204030203" pitchFamily="34" charset="0"/>
              <a:ea typeface="Lato Light" panose="020F0502020204030203" pitchFamily="34" charset="0"/>
              <a:cs typeface="Lato Light" panose="020F0502020204030203" pitchFamily="34" charset="0"/>
            </a:endParaRPr>
          </a:p>
        </p:txBody>
      </p:sp>
      <p:sp>
        <p:nvSpPr>
          <p:cNvPr id="32" name="Freeform 31">
            <a:extLst>
              <a:ext uri="{FF2B5EF4-FFF2-40B4-BE49-F238E27FC236}">
                <a16:creationId xmlns:a16="http://schemas.microsoft.com/office/drawing/2014/main" id="{0B2EBFE4-65DA-A284-3F77-38B9FCF33E94}"/>
              </a:ext>
            </a:extLst>
          </p:cNvPr>
          <p:cNvSpPr>
            <a:spLocks noChangeArrowheads="1"/>
          </p:cNvSpPr>
          <p:nvPr/>
        </p:nvSpPr>
        <p:spPr bwMode="auto">
          <a:xfrm>
            <a:off x="830366" y="2938479"/>
            <a:ext cx="1295091" cy="943540"/>
          </a:xfrm>
          <a:custGeom>
            <a:avLst/>
            <a:gdLst>
              <a:gd name="connsiteX0" fmla="*/ 40308 w 374291"/>
              <a:gd name="connsiteY0" fmla="*/ 250825 h 272690"/>
              <a:gd name="connsiteX1" fmla="*/ 44105 w 374291"/>
              <a:gd name="connsiteY1" fmla="*/ 254621 h 272690"/>
              <a:gd name="connsiteX2" fmla="*/ 40308 w 374291"/>
              <a:gd name="connsiteY2" fmla="*/ 258417 h 272690"/>
              <a:gd name="connsiteX3" fmla="*/ 36512 w 374291"/>
              <a:gd name="connsiteY3" fmla="*/ 254621 h 272690"/>
              <a:gd name="connsiteX4" fmla="*/ 40308 w 374291"/>
              <a:gd name="connsiteY4" fmla="*/ 250825 h 272690"/>
              <a:gd name="connsiteX5" fmla="*/ 9708 w 374291"/>
              <a:gd name="connsiteY5" fmla="*/ 248161 h 272690"/>
              <a:gd name="connsiteX6" fmla="*/ 9708 w 374291"/>
              <a:gd name="connsiteY6" fmla="*/ 259344 h 272690"/>
              <a:gd name="connsiteX7" fmla="*/ 12944 w 374291"/>
              <a:gd name="connsiteY7" fmla="*/ 262951 h 272690"/>
              <a:gd name="connsiteX8" fmla="*/ 67955 w 374291"/>
              <a:gd name="connsiteY8" fmla="*/ 262951 h 272690"/>
              <a:gd name="connsiteX9" fmla="*/ 71191 w 374291"/>
              <a:gd name="connsiteY9" fmla="*/ 259344 h 272690"/>
              <a:gd name="connsiteX10" fmla="*/ 71191 w 374291"/>
              <a:gd name="connsiteY10" fmla="*/ 248161 h 272690"/>
              <a:gd name="connsiteX11" fmla="*/ 309562 w 374291"/>
              <a:gd name="connsiteY11" fmla="*/ 244475 h 272690"/>
              <a:gd name="connsiteX12" fmla="*/ 315559 w 374291"/>
              <a:gd name="connsiteY12" fmla="*/ 250653 h 272690"/>
              <a:gd name="connsiteX13" fmla="*/ 309562 w 374291"/>
              <a:gd name="connsiteY13" fmla="*/ 256832 h 272690"/>
              <a:gd name="connsiteX14" fmla="*/ 303212 w 374291"/>
              <a:gd name="connsiteY14" fmla="*/ 250653 h 272690"/>
              <a:gd name="connsiteX15" fmla="*/ 309562 w 374291"/>
              <a:gd name="connsiteY15" fmla="*/ 244475 h 272690"/>
              <a:gd name="connsiteX16" fmla="*/ 255639 w 374291"/>
              <a:gd name="connsiteY16" fmla="*/ 240226 h 272690"/>
              <a:gd name="connsiteX17" fmla="*/ 255639 w 374291"/>
              <a:gd name="connsiteY17" fmla="*/ 255015 h 272690"/>
              <a:gd name="connsiteX18" fmla="*/ 263190 w 374291"/>
              <a:gd name="connsiteY18" fmla="*/ 262951 h 272690"/>
              <a:gd name="connsiteX19" fmla="*/ 357032 w 374291"/>
              <a:gd name="connsiteY19" fmla="*/ 262951 h 272690"/>
              <a:gd name="connsiteX20" fmla="*/ 364583 w 374291"/>
              <a:gd name="connsiteY20" fmla="*/ 255015 h 272690"/>
              <a:gd name="connsiteX21" fmla="*/ 364583 w 374291"/>
              <a:gd name="connsiteY21" fmla="*/ 240226 h 272690"/>
              <a:gd name="connsiteX22" fmla="*/ 133393 w 374291"/>
              <a:gd name="connsiteY22" fmla="*/ 195860 h 272690"/>
              <a:gd name="connsiteX23" fmla="*/ 133393 w 374291"/>
              <a:gd name="connsiteY23" fmla="*/ 217863 h 272690"/>
              <a:gd name="connsiteX24" fmla="*/ 117213 w 374291"/>
              <a:gd name="connsiteY24" fmla="*/ 253212 h 272690"/>
              <a:gd name="connsiteX25" fmla="*/ 116494 w 374291"/>
              <a:gd name="connsiteY25" fmla="*/ 256819 h 272690"/>
              <a:gd name="connsiteX26" fmla="*/ 119370 w 374291"/>
              <a:gd name="connsiteY26" fmla="*/ 258622 h 272690"/>
              <a:gd name="connsiteX27" fmla="*/ 209617 w 374291"/>
              <a:gd name="connsiteY27" fmla="*/ 258622 h 272690"/>
              <a:gd name="connsiteX28" fmla="*/ 212493 w 374291"/>
              <a:gd name="connsiteY28" fmla="*/ 256819 h 272690"/>
              <a:gd name="connsiteX29" fmla="*/ 211415 w 374291"/>
              <a:gd name="connsiteY29" fmla="*/ 253212 h 272690"/>
              <a:gd name="connsiteX30" fmla="*/ 195235 w 374291"/>
              <a:gd name="connsiteY30" fmla="*/ 217863 h 272690"/>
              <a:gd name="connsiteX31" fmla="*/ 195235 w 374291"/>
              <a:gd name="connsiteY31" fmla="*/ 195860 h 272690"/>
              <a:gd name="connsiteX32" fmla="*/ 168103 w 374291"/>
              <a:gd name="connsiteY32" fmla="*/ 163512 h 272690"/>
              <a:gd name="connsiteX33" fmla="*/ 174282 w 374291"/>
              <a:gd name="connsiteY33" fmla="*/ 169690 h 272690"/>
              <a:gd name="connsiteX34" fmla="*/ 168103 w 374291"/>
              <a:gd name="connsiteY34" fmla="*/ 175869 h 272690"/>
              <a:gd name="connsiteX35" fmla="*/ 161925 w 374291"/>
              <a:gd name="connsiteY35" fmla="*/ 169690 h 272690"/>
              <a:gd name="connsiteX36" fmla="*/ 168103 w 374291"/>
              <a:gd name="connsiteY36" fmla="*/ 163512 h 272690"/>
              <a:gd name="connsiteX37" fmla="*/ 80899 w 374291"/>
              <a:gd name="connsiteY37" fmla="*/ 155101 h 272690"/>
              <a:gd name="connsiteX38" fmla="*/ 80899 w 374291"/>
              <a:gd name="connsiteY38" fmla="*/ 185760 h 272690"/>
              <a:gd name="connsiteX39" fmla="*/ 123685 w 374291"/>
              <a:gd name="connsiteY39" fmla="*/ 185760 h 272690"/>
              <a:gd name="connsiteX40" fmla="*/ 204943 w 374291"/>
              <a:gd name="connsiteY40" fmla="*/ 185760 h 272690"/>
              <a:gd name="connsiteX41" fmla="*/ 245932 w 374291"/>
              <a:gd name="connsiteY41" fmla="*/ 185760 h 272690"/>
              <a:gd name="connsiteX42" fmla="*/ 245932 w 374291"/>
              <a:gd name="connsiteY42" fmla="*/ 155101 h 272690"/>
              <a:gd name="connsiteX43" fmla="*/ 12944 w 374291"/>
              <a:gd name="connsiteY43" fmla="*/ 134902 h 272690"/>
              <a:gd name="connsiteX44" fmla="*/ 9708 w 374291"/>
              <a:gd name="connsiteY44" fmla="*/ 138509 h 272690"/>
              <a:gd name="connsiteX45" fmla="*/ 9708 w 374291"/>
              <a:gd name="connsiteY45" fmla="*/ 238423 h 272690"/>
              <a:gd name="connsiteX46" fmla="*/ 71191 w 374291"/>
              <a:gd name="connsiteY46" fmla="*/ 238423 h 272690"/>
              <a:gd name="connsiteX47" fmla="*/ 71191 w 374291"/>
              <a:gd name="connsiteY47" fmla="*/ 195860 h 272690"/>
              <a:gd name="connsiteX48" fmla="*/ 71191 w 374291"/>
              <a:gd name="connsiteY48" fmla="*/ 138509 h 272690"/>
              <a:gd name="connsiteX49" fmla="*/ 67955 w 374291"/>
              <a:gd name="connsiteY49" fmla="*/ 134902 h 272690"/>
              <a:gd name="connsiteX50" fmla="*/ 21213 w 374291"/>
              <a:gd name="connsiteY50" fmla="*/ 134902 h 272690"/>
              <a:gd name="connsiteX51" fmla="*/ 263190 w 374291"/>
              <a:gd name="connsiteY51" fmla="*/ 86568 h 272690"/>
              <a:gd name="connsiteX52" fmla="*/ 255639 w 374291"/>
              <a:gd name="connsiteY52" fmla="*/ 94142 h 272690"/>
              <a:gd name="connsiteX53" fmla="*/ 255639 w 374291"/>
              <a:gd name="connsiteY53" fmla="*/ 195860 h 272690"/>
              <a:gd name="connsiteX54" fmla="*/ 255639 w 374291"/>
              <a:gd name="connsiteY54" fmla="*/ 230487 h 272690"/>
              <a:gd name="connsiteX55" fmla="*/ 364583 w 374291"/>
              <a:gd name="connsiteY55" fmla="*/ 230487 h 272690"/>
              <a:gd name="connsiteX56" fmla="*/ 364583 w 374291"/>
              <a:gd name="connsiteY56" fmla="*/ 94142 h 272690"/>
              <a:gd name="connsiteX57" fmla="*/ 357032 w 374291"/>
              <a:gd name="connsiteY57" fmla="*/ 86568 h 272690"/>
              <a:gd name="connsiteX58" fmla="*/ 307414 w 374291"/>
              <a:gd name="connsiteY58" fmla="*/ 86568 h 272690"/>
              <a:gd name="connsiteX59" fmla="*/ 38112 w 374291"/>
              <a:gd name="connsiteY59" fmla="*/ 9739 h 272690"/>
              <a:gd name="connsiteX60" fmla="*/ 30921 w 374291"/>
              <a:gd name="connsiteY60" fmla="*/ 17313 h 272690"/>
              <a:gd name="connsiteX61" fmla="*/ 30921 w 374291"/>
              <a:gd name="connsiteY61" fmla="*/ 125163 h 272690"/>
              <a:gd name="connsiteX62" fmla="*/ 67955 w 374291"/>
              <a:gd name="connsiteY62" fmla="*/ 125163 h 272690"/>
              <a:gd name="connsiteX63" fmla="*/ 80899 w 374291"/>
              <a:gd name="connsiteY63" fmla="*/ 138509 h 272690"/>
              <a:gd name="connsiteX64" fmla="*/ 80899 w 374291"/>
              <a:gd name="connsiteY64" fmla="*/ 145362 h 272690"/>
              <a:gd name="connsiteX65" fmla="*/ 245932 w 374291"/>
              <a:gd name="connsiteY65" fmla="*/ 145362 h 272690"/>
              <a:gd name="connsiteX66" fmla="*/ 245932 w 374291"/>
              <a:gd name="connsiteY66" fmla="*/ 94142 h 272690"/>
              <a:gd name="connsiteX67" fmla="*/ 247370 w 374291"/>
              <a:gd name="connsiteY67" fmla="*/ 87289 h 272690"/>
              <a:gd name="connsiteX68" fmla="*/ 263190 w 374291"/>
              <a:gd name="connsiteY68" fmla="*/ 76829 h 272690"/>
              <a:gd name="connsiteX69" fmla="*/ 298066 w 374291"/>
              <a:gd name="connsiteY69" fmla="*/ 76829 h 272690"/>
              <a:gd name="connsiteX70" fmla="*/ 298066 w 374291"/>
              <a:gd name="connsiteY70" fmla="*/ 17313 h 272690"/>
              <a:gd name="connsiteX71" fmla="*/ 290516 w 374291"/>
              <a:gd name="connsiteY71" fmla="*/ 9739 h 272690"/>
              <a:gd name="connsiteX72" fmla="*/ 38112 w 374291"/>
              <a:gd name="connsiteY72" fmla="*/ 0 h 272690"/>
              <a:gd name="connsiteX73" fmla="*/ 290516 w 374291"/>
              <a:gd name="connsiteY73" fmla="*/ 0 h 272690"/>
              <a:gd name="connsiteX74" fmla="*/ 307414 w 374291"/>
              <a:gd name="connsiteY74" fmla="*/ 17313 h 272690"/>
              <a:gd name="connsiteX75" fmla="*/ 307414 w 374291"/>
              <a:gd name="connsiteY75" fmla="*/ 76829 h 272690"/>
              <a:gd name="connsiteX76" fmla="*/ 357032 w 374291"/>
              <a:gd name="connsiteY76" fmla="*/ 76829 h 272690"/>
              <a:gd name="connsiteX77" fmla="*/ 374291 w 374291"/>
              <a:gd name="connsiteY77" fmla="*/ 94142 h 272690"/>
              <a:gd name="connsiteX78" fmla="*/ 374291 w 374291"/>
              <a:gd name="connsiteY78" fmla="*/ 255015 h 272690"/>
              <a:gd name="connsiteX79" fmla="*/ 357032 w 374291"/>
              <a:gd name="connsiteY79" fmla="*/ 272690 h 272690"/>
              <a:gd name="connsiteX80" fmla="*/ 263190 w 374291"/>
              <a:gd name="connsiteY80" fmla="*/ 272690 h 272690"/>
              <a:gd name="connsiteX81" fmla="*/ 245932 w 374291"/>
              <a:gd name="connsiteY81" fmla="*/ 255015 h 272690"/>
              <a:gd name="connsiteX82" fmla="*/ 245932 w 374291"/>
              <a:gd name="connsiteY82" fmla="*/ 195860 h 272690"/>
              <a:gd name="connsiteX83" fmla="*/ 204943 w 374291"/>
              <a:gd name="connsiteY83" fmla="*/ 195860 h 272690"/>
              <a:gd name="connsiteX84" fmla="*/ 204943 w 374291"/>
              <a:gd name="connsiteY84" fmla="*/ 217863 h 272690"/>
              <a:gd name="connsiteX85" fmla="*/ 217527 w 374291"/>
              <a:gd name="connsiteY85" fmla="*/ 245637 h 272690"/>
              <a:gd name="connsiteX86" fmla="*/ 221482 w 374291"/>
              <a:gd name="connsiteY86" fmla="*/ 260065 h 272690"/>
              <a:gd name="connsiteX87" fmla="*/ 209617 w 374291"/>
              <a:gd name="connsiteY87" fmla="*/ 268722 h 272690"/>
              <a:gd name="connsiteX88" fmla="*/ 119370 w 374291"/>
              <a:gd name="connsiteY88" fmla="*/ 268722 h 272690"/>
              <a:gd name="connsiteX89" fmla="*/ 107146 w 374291"/>
              <a:gd name="connsiteY89" fmla="*/ 260065 h 272690"/>
              <a:gd name="connsiteX90" fmla="*/ 111101 w 374291"/>
              <a:gd name="connsiteY90" fmla="*/ 245637 h 272690"/>
              <a:gd name="connsiteX91" fmla="*/ 123685 w 374291"/>
              <a:gd name="connsiteY91" fmla="*/ 217863 h 272690"/>
              <a:gd name="connsiteX92" fmla="*/ 123685 w 374291"/>
              <a:gd name="connsiteY92" fmla="*/ 195860 h 272690"/>
              <a:gd name="connsiteX93" fmla="*/ 80899 w 374291"/>
              <a:gd name="connsiteY93" fmla="*/ 195860 h 272690"/>
              <a:gd name="connsiteX94" fmla="*/ 80899 w 374291"/>
              <a:gd name="connsiteY94" fmla="*/ 259344 h 272690"/>
              <a:gd name="connsiteX95" fmla="*/ 67955 w 374291"/>
              <a:gd name="connsiteY95" fmla="*/ 272690 h 272690"/>
              <a:gd name="connsiteX96" fmla="*/ 12944 w 374291"/>
              <a:gd name="connsiteY96" fmla="*/ 272690 h 272690"/>
              <a:gd name="connsiteX97" fmla="*/ 0 w 374291"/>
              <a:gd name="connsiteY97" fmla="*/ 259344 h 272690"/>
              <a:gd name="connsiteX98" fmla="*/ 0 w 374291"/>
              <a:gd name="connsiteY98" fmla="*/ 138509 h 272690"/>
              <a:gd name="connsiteX99" fmla="*/ 12944 w 374291"/>
              <a:gd name="connsiteY99" fmla="*/ 125163 h 272690"/>
              <a:gd name="connsiteX100" fmla="*/ 21213 w 374291"/>
              <a:gd name="connsiteY100" fmla="*/ 125163 h 272690"/>
              <a:gd name="connsiteX101" fmla="*/ 21213 w 374291"/>
              <a:gd name="connsiteY101" fmla="*/ 17313 h 272690"/>
              <a:gd name="connsiteX102" fmla="*/ 38112 w 374291"/>
              <a:gd name="connsiteY102" fmla="*/ 0 h 2726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Lst>
            <a:rect l="l" t="t" r="r" b="b"/>
            <a:pathLst>
              <a:path w="374291" h="272690">
                <a:moveTo>
                  <a:pt x="40308" y="250825"/>
                </a:moveTo>
                <a:cubicBezTo>
                  <a:pt x="42379" y="250825"/>
                  <a:pt x="44105" y="252551"/>
                  <a:pt x="44105" y="254621"/>
                </a:cubicBezTo>
                <a:cubicBezTo>
                  <a:pt x="44105" y="257037"/>
                  <a:pt x="42379" y="258417"/>
                  <a:pt x="40308" y="258417"/>
                </a:cubicBezTo>
                <a:cubicBezTo>
                  <a:pt x="38238" y="258417"/>
                  <a:pt x="36512" y="257037"/>
                  <a:pt x="36512" y="254621"/>
                </a:cubicBezTo>
                <a:cubicBezTo>
                  <a:pt x="36512" y="252551"/>
                  <a:pt x="38238" y="250825"/>
                  <a:pt x="40308" y="250825"/>
                </a:cubicBezTo>
                <a:close/>
                <a:moveTo>
                  <a:pt x="9708" y="248161"/>
                </a:moveTo>
                <a:lnTo>
                  <a:pt x="9708" y="259344"/>
                </a:lnTo>
                <a:cubicBezTo>
                  <a:pt x="9708" y="261147"/>
                  <a:pt x="11506" y="262951"/>
                  <a:pt x="12944" y="262951"/>
                </a:cubicBezTo>
                <a:lnTo>
                  <a:pt x="67955" y="262951"/>
                </a:lnTo>
                <a:cubicBezTo>
                  <a:pt x="69753" y="262951"/>
                  <a:pt x="71191" y="261147"/>
                  <a:pt x="71191" y="259344"/>
                </a:cubicBezTo>
                <a:lnTo>
                  <a:pt x="71191" y="248161"/>
                </a:lnTo>
                <a:close/>
                <a:moveTo>
                  <a:pt x="309562" y="244475"/>
                </a:moveTo>
                <a:cubicBezTo>
                  <a:pt x="312737" y="244475"/>
                  <a:pt x="315559" y="247221"/>
                  <a:pt x="315559" y="250653"/>
                </a:cubicBezTo>
                <a:cubicBezTo>
                  <a:pt x="315559" y="254086"/>
                  <a:pt x="312737" y="256832"/>
                  <a:pt x="309562" y="256832"/>
                </a:cubicBezTo>
                <a:cubicBezTo>
                  <a:pt x="306034" y="256832"/>
                  <a:pt x="303212" y="254086"/>
                  <a:pt x="303212" y="250653"/>
                </a:cubicBezTo>
                <a:cubicBezTo>
                  <a:pt x="303212" y="247221"/>
                  <a:pt x="306034" y="244475"/>
                  <a:pt x="309562" y="244475"/>
                </a:cubicBezTo>
                <a:close/>
                <a:moveTo>
                  <a:pt x="255639" y="240226"/>
                </a:moveTo>
                <a:lnTo>
                  <a:pt x="255639" y="255015"/>
                </a:lnTo>
                <a:cubicBezTo>
                  <a:pt x="255639" y="259344"/>
                  <a:pt x="258875" y="262951"/>
                  <a:pt x="263190" y="262951"/>
                </a:cubicBezTo>
                <a:lnTo>
                  <a:pt x="357032" y="262951"/>
                </a:lnTo>
                <a:cubicBezTo>
                  <a:pt x="361347" y="262951"/>
                  <a:pt x="364583" y="259344"/>
                  <a:pt x="364583" y="255015"/>
                </a:cubicBezTo>
                <a:lnTo>
                  <a:pt x="364583" y="240226"/>
                </a:lnTo>
                <a:close/>
                <a:moveTo>
                  <a:pt x="133393" y="195860"/>
                </a:moveTo>
                <a:lnTo>
                  <a:pt x="133393" y="217863"/>
                </a:lnTo>
                <a:cubicBezTo>
                  <a:pt x="133393" y="231930"/>
                  <a:pt x="127640" y="244554"/>
                  <a:pt x="117213" y="253212"/>
                </a:cubicBezTo>
                <a:cubicBezTo>
                  <a:pt x="115775" y="254655"/>
                  <a:pt x="116134" y="256097"/>
                  <a:pt x="116494" y="256819"/>
                </a:cubicBezTo>
                <a:cubicBezTo>
                  <a:pt x="116494" y="257179"/>
                  <a:pt x="117213" y="258622"/>
                  <a:pt x="119370" y="258622"/>
                </a:cubicBezTo>
                <a:lnTo>
                  <a:pt x="209617" y="258622"/>
                </a:lnTo>
                <a:cubicBezTo>
                  <a:pt x="211415" y="258622"/>
                  <a:pt x="212134" y="257179"/>
                  <a:pt x="212493" y="256819"/>
                </a:cubicBezTo>
                <a:cubicBezTo>
                  <a:pt x="212853" y="256097"/>
                  <a:pt x="212853" y="254655"/>
                  <a:pt x="211415" y="253212"/>
                </a:cubicBezTo>
                <a:cubicBezTo>
                  <a:pt x="200988" y="244554"/>
                  <a:pt x="195235" y="231930"/>
                  <a:pt x="195235" y="217863"/>
                </a:cubicBezTo>
                <a:lnTo>
                  <a:pt x="195235" y="195860"/>
                </a:lnTo>
                <a:close/>
                <a:moveTo>
                  <a:pt x="168103" y="163512"/>
                </a:moveTo>
                <a:cubicBezTo>
                  <a:pt x="171536" y="163512"/>
                  <a:pt x="174282" y="166258"/>
                  <a:pt x="174282" y="169690"/>
                </a:cubicBezTo>
                <a:cubicBezTo>
                  <a:pt x="174282" y="173123"/>
                  <a:pt x="171536" y="175869"/>
                  <a:pt x="168103" y="175869"/>
                </a:cubicBezTo>
                <a:cubicBezTo>
                  <a:pt x="164671" y="175869"/>
                  <a:pt x="161925" y="173123"/>
                  <a:pt x="161925" y="169690"/>
                </a:cubicBezTo>
                <a:cubicBezTo>
                  <a:pt x="161925" y="166258"/>
                  <a:pt x="164671" y="163512"/>
                  <a:pt x="168103" y="163512"/>
                </a:cubicBezTo>
                <a:close/>
                <a:moveTo>
                  <a:pt x="80899" y="155101"/>
                </a:moveTo>
                <a:lnTo>
                  <a:pt x="80899" y="185760"/>
                </a:lnTo>
                <a:lnTo>
                  <a:pt x="123685" y="185760"/>
                </a:lnTo>
                <a:lnTo>
                  <a:pt x="204943" y="185760"/>
                </a:lnTo>
                <a:lnTo>
                  <a:pt x="245932" y="185760"/>
                </a:lnTo>
                <a:lnTo>
                  <a:pt x="245932" y="155101"/>
                </a:lnTo>
                <a:close/>
                <a:moveTo>
                  <a:pt x="12944" y="134902"/>
                </a:moveTo>
                <a:cubicBezTo>
                  <a:pt x="11506" y="134902"/>
                  <a:pt x="9708" y="136705"/>
                  <a:pt x="9708" y="138509"/>
                </a:cubicBezTo>
                <a:lnTo>
                  <a:pt x="9708" y="238423"/>
                </a:lnTo>
                <a:lnTo>
                  <a:pt x="71191" y="238423"/>
                </a:lnTo>
                <a:lnTo>
                  <a:pt x="71191" y="195860"/>
                </a:lnTo>
                <a:lnTo>
                  <a:pt x="71191" y="138509"/>
                </a:lnTo>
                <a:cubicBezTo>
                  <a:pt x="71191" y="136705"/>
                  <a:pt x="69753" y="134902"/>
                  <a:pt x="67955" y="134902"/>
                </a:cubicBezTo>
                <a:lnTo>
                  <a:pt x="21213" y="134902"/>
                </a:lnTo>
                <a:close/>
                <a:moveTo>
                  <a:pt x="263190" y="86568"/>
                </a:moveTo>
                <a:cubicBezTo>
                  <a:pt x="258875" y="86568"/>
                  <a:pt x="255639" y="89814"/>
                  <a:pt x="255639" y="94142"/>
                </a:cubicBezTo>
                <a:lnTo>
                  <a:pt x="255639" y="195860"/>
                </a:lnTo>
                <a:lnTo>
                  <a:pt x="255639" y="230487"/>
                </a:lnTo>
                <a:lnTo>
                  <a:pt x="364583" y="230487"/>
                </a:lnTo>
                <a:lnTo>
                  <a:pt x="364583" y="94142"/>
                </a:lnTo>
                <a:cubicBezTo>
                  <a:pt x="364583" y="89814"/>
                  <a:pt x="361347" y="86568"/>
                  <a:pt x="357032" y="86568"/>
                </a:cubicBezTo>
                <a:lnTo>
                  <a:pt x="307414" y="86568"/>
                </a:lnTo>
                <a:close/>
                <a:moveTo>
                  <a:pt x="38112" y="9739"/>
                </a:moveTo>
                <a:cubicBezTo>
                  <a:pt x="34157" y="9739"/>
                  <a:pt x="30921" y="12985"/>
                  <a:pt x="30921" y="17313"/>
                </a:cubicBezTo>
                <a:lnTo>
                  <a:pt x="30921" y="125163"/>
                </a:lnTo>
                <a:lnTo>
                  <a:pt x="67955" y="125163"/>
                </a:lnTo>
                <a:cubicBezTo>
                  <a:pt x="75146" y="125163"/>
                  <a:pt x="80899" y="130934"/>
                  <a:pt x="80899" y="138509"/>
                </a:cubicBezTo>
                <a:lnTo>
                  <a:pt x="80899" y="145362"/>
                </a:lnTo>
                <a:lnTo>
                  <a:pt x="245932" y="145362"/>
                </a:lnTo>
                <a:lnTo>
                  <a:pt x="245932" y="94142"/>
                </a:lnTo>
                <a:cubicBezTo>
                  <a:pt x="245932" y="91618"/>
                  <a:pt x="246651" y="89453"/>
                  <a:pt x="247370" y="87289"/>
                </a:cubicBezTo>
                <a:cubicBezTo>
                  <a:pt x="249887" y="81157"/>
                  <a:pt x="255999" y="76829"/>
                  <a:pt x="263190" y="76829"/>
                </a:cubicBezTo>
                <a:lnTo>
                  <a:pt x="298066" y="76829"/>
                </a:lnTo>
                <a:lnTo>
                  <a:pt x="298066" y="17313"/>
                </a:lnTo>
                <a:cubicBezTo>
                  <a:pt x="298066" y="12985"/>
                  <a:pt x="294471" y="9739"/>
                  <a:pt x="290516" y="9739"/>
                </a:cubicBezTo>
                <a:close/>
                <a:moveTo>
                  <a:pt x="38112" y="0"/>
                </a:moveTo>
                <a:lnTo>
                  <a:pt x="290516" y="0"/>
                </a:lnTo>
                <a:cubicBezTo>
                  <a:pt x="300223" y="0"/>
                  <a:pt x="307414" y="7574"/>
                  <a:pt x="307414" y="17313"/>
                </a:cubicBezTo>
                <a:lnTo>
                  <a:pt x="307414" y="76829"/>
                </a:lnTo>
                <a:lnTo>
                  <a:pt x="357032" y="76829"/>
                </a:lnTo>
                <a:cubicBezTo>
                  <a:pt x="366740" y="76829"/>
                  <a:pt x="374291" y="84404"/>
                  <a:pt x="374291" y="94142"/>
                </a:cubicBezTo>
                <a:lnTo>
                  <a:pt x="374291" y="255015"/>
                </a:lnTo>
                <a:cubicBezTo>
                  <a:pt x="374291" y="264754"/>
                  <a:pt x="366740" y="272690"/>
                  <a:pt x="357032" y="272690"/>
                </a:cubicBezTo>
                <a:lnTo>
                  <a:pt x="263190" y="272690"/>
                </a:lnTo>
                <a:cubicBezTo>
                  <a:pt x="253482" y="272690"/>
                  <a:pt x="245932" y="264754"/>
                  <a:pt x="245932" y="255015"/>
                </a:cubicBezTo>
                <a:lnTo>
                  <a:pt x="245932" y="195860"/>
                </a:lnTo>
                <a:lnTo>
                  <a:pt x="204943" y="195860"/>
                </a:lnTo>
                <a:lnTo>
                  <a:pt x="204943" y="217863"/>
                </a:lnTo>
                <a:cubicBezTo>
                  <a:pt x="204943" y="228684"/>
                  <a:pt x="209617" y="238783"/>
                  <a:pt x="217527" y="245637"/>
                </a:cubicBezTo>
                <a:cubicBezTo>
                  <a:pt x="221842" y="249244"/>
                  <a:pt x="223280" y="254655"/>
                  <a:pt x="221482" y="260065"/>
                </a:cubicBezTo>
                <a:cubicBezTo>
                  <a:pt x="219684" y="265115"/>
                  <a:pt x="215010" y="268722"/>
                  <a:pt x="209617" y="268722"/>
                </a:cubicBezTo>
                <a:lnTo>
                  <a:pt x="119370" y="268722"/>
                </a:lnTo>
                <a:cubicBezTo>
                  <a:pt x="113618" y="268722"/>
                  <a:pt x="108943" y="265115"/>
                  <a:pt x="107146" y="260065"/>
                </a:cubicBezTo>
                <a:cubicBezTo>
                  <a:pt x="105348" y="254655"/>
                  <a:pt x="106786" y="249244"/>
                  <a:pt x="111101" y="245637"/>
                </a:cubicBezTo>
                <a:cubicBezTo>
                  <a:pt x="119370" y="238783"/>
                  <a:pt x="123685" y="228684"/>
                  <a:pt x="123685" y="217863"/>
                </a:cubicBezTo>
                <a:lnTo>
                  <a:pt x="123685" y="195860"/>
                </a:lnTo>
                <a:lnTo>
                  <a:pt x="80899" y="195860"/>
                </a:lnTo>
                <a:lnTo>
                  <a:pt x="80899" y="259344"/>
                </a:lnTo>
                <a:cubicBezTo>
                  <a:pt x="80899" y="266558"/>
                  <a:pt x="75146" y="272690"/>
                  <a:pt x="67955" y="272690"/>
                </a:cubicBezTo>
                <a:lnTo>
                  <a:pt x="12944" y="272690"/>
                </a:lnTo>
                <a:cubicBezTo>
                  <a:pt x="5753" y="272690"/>
                  <a:pt x="0" y="266558"/>
                  <a:pt x="0" y="259344"/>
                </a:cubicBezTo>
                <a:lnTo>
                  <a:pt x="0" y="138509"/>
                </a:lnTo>
                <a:cubicBezTo>
                  <a:pt x="0" y="130934"/>
                  <a:pt x="5753" y="125163"/>
                  <a:pt x="12944" y="125163"/>
                </a:cubicBezTo>
                <a:lnTo>
                  <a:pt x="21213" y="125163"/>
                </a:lnTo>
                <a:lnTo>
                  <a:pt x="21213" y="17313"/>
                </a:lnTo>
                <a:cubicBezTo>
                  <a:pt x="21213" y="7574"/>
                  <a:pt x="28764" y="0"/>
                  <a:pt x="38112" y="0"/>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599" dirty="0">
              <a:latin typeface="Poppins" pitchFamily="2" charset="77"/>
            </a:endParaRPr>
          </a:p>
        </p:txBody>
      </p:sp>
      <p:sp>
        <p:nvSpPr>
          <p:cNvPr id="33" name="Freeform 32">
            <a:extLst>
              <a:ext uri="{FF2B5EF4-FFF2-40B4-BE49-F238E27FC236}">
                <a16:creationId xmlns:a16="http://schemas.microsoft.com/office/drawing/2014/main" id="{5E17FEAE-B00E-2BA6-BAEF-B860C43EF719}"/>
              </a:ext>
            </a:extLst>
          </p:cNvPr>
          <p:cNvSpPr>
            <a:spLocks noChangeArrowheads="1"/>
          </p:cNvSpPr>
          <p:nvPr/>
        </p:nvSpPr>
        <p:spPr bwMode="auto">
          <a:xfrm>
            <a:off x="7574033" y="2697358"/>
            <a:ext cx="1278604" cy="1300898"/>
          </a:xfrm>
          <a:custGeom>
            <a:avLst/>
            <a:gdLst>
              <a:gd name="connsiteX0" fmla="*/ 260119 w 369526"/>
              <a:gd name="connsiteY0" fmla="*/ 330680 h 375969"/>
              <a:gd name="connsiteX1" fmla="*/ 260119 w 369526"/>
              <a:gd name="connsiteY1" fmla="*/ 342901 h 375969"/>
              <a:gd name="connsiteX2" fmla="*/ 249287 w 369526"/>
              <a:gd name="connsiteY2" fmla="*/ 366264 h 375969"/>
              <a:gd name="connsiteX3" fmla="*/ 255064 w 369526"/>
              <a:gd name="connsiteY3" fmla="*/ 366264 h 375969"/>
              <a:gd name="connsiteX4" fmla="*/ 305976 w 369526"/>
              <a:gd name="connsiteY4" fmla="*/ 366264 h 375969"/>
              <a:gd name="connsiteX5" fmla="*/ 295144 w 369526"/>
              <a:gd name="connsiteY5" fmla="*/ 342901 h 375969"/>
              <a:gd name="connsiteX6" fmla="*/ 295144 w 369526"/>
              <a:gd name="connsiteY6" fmla="*/ 330680 h 375969"/>
              <a:gd name="connsiteX7" fmla="*/ 280021 w 369526"/>
              <a:gd name="connsiteY7" fmla="*/ 308065 h 375969"/>
              <a:gd name="connsiteX8" fmla="*/ 283817 w 369526"/>
              <a:gd name="connsiteY8" fmla="*/ 311703 h 375969"/>
              <a:gd name="connsiteX9" fmla="*/ 280021 w 369526"/>
              <a:gd name="connsiteY9" fmla="*/ 315672 h 375969"/>
              <a:gd name="connsiteX10" fmla="*/ 276225 w 369526"/>
              <a:gd name="connsiteY10" fmla="*/ 311703 h 375969"/>
              <a:gd name="connsiteX11" fmla="*/ 280021 w 369526"/>
              <a:gd name="connsiteY11" fmla="*/ 308065 h 375969"/>
              <a:gd name="connsiteX12" fmla="*/ 144685 w 369526"/>
              <a:gd name="connsiteY12" fmla="*/ 306823 h 375969"/>
              <a:gd name="connsiteX13" fmla="*/ 169513 w 369526"/>
              <a:gd name="connsiteY13" fmla="*/ 312345 h 375969"/>
              <a:gd name="connsiteX14" fmla="*/ 173895 w 369526"/>
              <a:gd name="connsiteY14" fmla="*/ 317867 h 375969"/>
              <a:gd name="connsiteX15" fmla="*/ 169148 w 369526"/>
              <a:gd name="connsiteY15" fmla="*/ 322008 h 375969"/>
              <a:gd name="connsiteX16" fmla="*/ 168418 w 369526"/>
              <a:gd name="connsiteY16" fmla="*/ 321663 h 375969"/>
              <a:gd name="connsiteX17" fmla="*/ 141764 w 369526"/>
              <a:gd name="connsiteY17" fmla="*/ 316141 h 375969"/>
              <a:gd name="connsiteX18" fmla="*/ 138843 w 369526"/>
              <a:gd name="connsiteY18" fmla="*/ 309929 h 375969"/>
              <a:gd name="connsiteX19" fmla="*/ 144685 w 369526"/>
              <a:gd name="connsiteY19" fmla="*/ 306823 h 375969"/>
              <a:gd name="connsiteX20" fmla="*/ 195125 w 369526"/>
              <a:gd name="connsiteY20" fmla="*/ 305520 h 375969"/>
              <a:gd name="connsiteX21" fmla="*/ 195125 w 369526"/>
              <a:gd name="connsiteY21" fmla="*/ 318100 h 375969"/>
              <a:gd name="connsiteX22" fmla="*/ 198375 w 369526"/>
              <a:gd name="connsiteY22" fmla="*/ 320975 h 375969"/>
              <a:gd name="connsiteX23" fmla="*/ 250370 w 369526"/>
              <a:gd name="connsiteY23" fmla="*/ 320975 h 375969"/>
              <a:gd name="connsiteX24" fmla="*/ 304893 w 369526"/>
              <a:gd name="connsiteY24" fmla="*/ 320975 h 375969"/>
              <a:gd name="connsiteX25" fmla="*/ 356888 w 369526"/>
              <a:gd name="connsiteY25" fmla="*/ 320975 h 375969"/>
              <a:gd name="connsiteX26" fmla="*/ 359777 w 369526"/>
              <a:gd name="connsiteY26" fmla="*/ 318100 h 375969"/>
              <a:gd name="connsiteX27" fmla="*/ 359777 w 369526"/>
              <a:gd name="connsiteY27" fmla="*/ 305520 h 375969"/>
              <a:gd name="connsiteX28" fmla="*/ 89158 w 369526"/>
              <a:gd name="connsiteY28" fmla="*/ 275338 h 375969"/>
              <a:gd name="connsiteX29" fmla="*/ 96173 w 369526"/>
              <a:gd name="connsiteY29" fmla="*/ 275338 h 375969"/>
              <a:gd name="connsiteX30" fmla="*/ 115740 w 369526"/>
              <a:gd name="connsiteY30" fmla="*/ 292190 h 375969"/>
              <a:gd name="connsiteX31" fmla="*/ 117216 w 369526"/>
              <a:gd name="connsiteY31" fmla="*/ 299151 h 375969"/>
              <a:gd name="connsiteX32" fmla="*/ 112786 w 369526"/>
              <a:gd name="connsiteY32" fmla="*/ 301349 h 375969"/>
              <a:gd name="connsiteX33" fmla="*/ 110202 w 369526"/>
              <a:gd name="connsiteY33" fmla="*/ 300250 h 375969"/>
              <a:gd name="connsiteX34" fmla="*/ 89158 w 369526"/>
              <a:gd name="connsiteY34" fmla="*/ 282299 h 375969"/>
              <a:gd name="connsiteX35" fmla="*/ 89158 w 369526"/>
              <a:gd name="connsiteY35" fmla="*/ 275338 h 375969"/>
              <a:gd name="connsiteX36" fmla="*/ 59476 w 369526"/>
              <a:gd name="connsiteY36" fmla="*/ 219878 h 375969"/>
              <a:gd name="connsiteX37" fmla="*/ 65170 w 369526"/>
              <a:gd name="connsiteY37" fmla="*/ 223442 h 375969"/>
              <a:gd name="connsiteX38" fmla="*/ 74421 w 369526"/>
              <a:gd name="connsiteY38" fmla="*/ 246963 h 375969"/>
              <a:gd name="connsiteX39" fmla="*/ 72286 w 369526"/>
              <a:gd name="connsiteY39" fmla="*/ 253377 h 375969"/>
              <a:gd name="connsiteX40" fmla="*/ 70151 w 369526"/>
              <a:gd name="connsiteY40" fmla="*/ 253734 h 375969"/>
              <a:gd name="connsiteX41" fmla="*/ 66237 w 369526"/>
              <a:gd name="connsiteY41" fmla="*/ 251239 h 375969"/>
              <a:gd name="connsiteX42" fmla="*/ 56274 w 369526"/>
              <a:gd name="connsiteY42" fmla="*/ 225936 h 375969"/>
              <a:gd name="connsiteX43" fmla="*/ 59476 w 369526"/>
              <a:gd name="connsiteY43" fmla="*/ 219878 h 375969"/>
              <a:gd name="connsiteX44" fmla="*/ 198375 w 369526"/>
              <a:gd name="connsiteY44" fmla="*/ 214582 h 375969"/>
              <a:gd name="connsiteX45" fmla="*/ 195125 w 369526"/>
              <a:gd name="connsiteY45" fmla="*/ 217458 h 375969"/>
              <a:gd name="connsiteX46" fmla="*/ 195125 w 369526"/>
              <a:gd name="connsiteY46" fmla="*/ 295456 h 375969"/>
              <a:gd name="connsiteX47" fmla="*/ 359777 w 369526"/>
              <a:gd name="connsiteY47" fmla="*/ 295456 h 375969"/>
              <a:gd name="connsiteX48" fmla="*/ 359777 w 369526"/>
              <a:gd name="connsiteY48" fmla="*/ 217458 h 375969"/>
              <a:gd name="connsiteX49" fmla="*/ 356888 w 369526"/>
              <a:gd name="connsiteY49" fmla="*/ 214582 h 375969"/>
              <a:gd name="connsiteX50" fmla="*/ 198375 w 369526"/>
              <a:gd name="connsiteY50" fmla="*/ 204878 h 375969"/>
              <a:gd name="connsiteX51" fmla="*/ 356888 w 369526"/>
              <a:gd name="connsiteY51" fmla="*/ 204878 h 375969"/>
              <a:gd name="connsiteX52" fmla="*/ 369526 w 369526"/>
              <a:gd name="connsiteY52" fmla="*/ 217458 h 375969"/>
              <a:gd name="connsiteX53" fmla="*/ 369526 w 369526"/>
              <a:gd name="connsiteY53" fmla="*/ 318100 h 375969"/>
              <a:gd name="connsiteX54" fmla="*/ 356888 w 369526"/>
              <a:gd name="connsiteY54" fmla="*/ 330680 h 375969"/>
              <a:gd name="connsiteX55" fmla="*/ 304893 w 369526"/>
              <a:gd name="connsiteY55" fmla="*/ 330680 h 375969"/>
              <a:gd name="connsiteX56" fmla="*/ 304893 w 369526"/>
              <a:gd name="connsiteY56" fmla="*/ 342901 h 375969"/>
              <a:gd name="connsiteX57" fmla="*/ 312115 w 369526"/>
              <a:gd name="connsiteY57" fmla="*/ 358357 h 375969"/>
              <a:gd name="connsiteX58" fmla="*/ 315003 w 369526"/>
              <a:gd name="connsiteY58" fmla="*/ 369499 h 375969"/>
              <a:gd name="connsiteX59" fmla="*/ 305976 w 369526"/>
              <a:gd name="connsiteY59" fmla="*/ 375969 h 375969"/>
              <a:gd name="connsiteX60" fmla="*/ 249287 w 369526"/>
              <a:gd name="connsiteY60" fmla="*/ 375969 h 375969"/>
              <a:gd name="connsiteX61" fmla="*/ 239899 w 369526"/>
              <a:gd name="connsiteY61" fmla="*/ 369499 h 375969"/>
              <a:gd name="connsiteX62" fmla="*/ 242788 w 369526"/>
              <a:gd name="connsiteY62" fmla="*/ 358357 h 375969"/>
              <a:gd name="connsiteX63" fmla="*/ 250370 w 369526"/>
              <a:gd name="connsiteY63" fmla="*/ 342901 h 375969"/>
              <a:gd name="connsiteX64" fmla="*/ 250370 w 369526"/>
              <a:gd name="connsiteY64" fmla="*/ 330680 h 375969"/>
              <a:gd name="connsiteX65" fmla="*/ 198375 w 369526"/>
              <a:gd name="connsiteY65" fmla="*/ 330680 h 375969"/>
              <a:gd name="connsiteX66" fmla="*/ 185737 w 369526"/>
              <a:gd name="connsiteY66" fmla="*/ 318100 h 375969"/>
              <a:gd name="connsiteX67" fmla="*/ 185737 w 369526"/>
              <a:gd name="connsiteY67" fmla="*/ 217458 h 375969"/>
              <a:gd name="connsiteX68" fmla="*/ 198375 w 369526"/>
              <a:gd name="connsiteY68" fmla="*/ 204878 h 375969"/>
              <a:gd name="connsiteX69" fmla="*/ 60733 w 369526"/>
              <a:gd name="connsiteY69" fmla="*/ 156397 h 375969"/>
              <a:gd name="connsiteX70" fmla="*/ 64362 w 369526"/>
              <a:gd name="connsiteY70" fmla="*/ 162259 h 375969"/>
              <a:gd name="connsiteX71" fmla="*/ 61822 w 369526"/>
              <a:gd name="connsiteY71" fmla="*/ 188270 h 375969"/>
              <a:gd name="connsiteX72" fmla="*/ 56742 w 369526"/>
              <a:gd name="connsiteY72" fmla="*/ 193398 h 375969"/>
              <a:gd name="connsiteX73" fmla="*/ 52387 w 369526"/>
              <a:gd name="connsiteY73" fmla="*/ 188270 h 375969"/>
              <a:gd name="connsiteX74" fmla="*/ 54927 w 369526"/>
              <a:gd name="connsiteY74" fmla="*/ 160061 h 375969"/>
              <a:gd name="connsiteX75" fmla="*/ 60733 w 369526"/>
              <a:gd name="connsiteY75" fmla="*/ 156397 h 375969"/>
              <a:gd name="connsiteX76" fmla="*/ 309086 w 369526"/>
              <a:gd name="connsiteY76" fmla="*/ 151628 h 375969"/>
              <a:gd name="connsiteX77" fmla="*/ 314801 w 369526"/>
              <a:gd name="connsiteY77" fmla="*/ 155257 h 375969"/>
              <a:gd name="connsiteX78" fmla="*/ 318373 w 369526"/>
              <a:gd name="connsiteY78" fmla="*/ 182834 h 375969"/>
              <a:gd name="connsiteX79" fmla="*/ 318730 w 369526"/>
              <a:gd name="connsiteY79" fmla="*/ 183197 h 375969"/>
              <a:gd name="connsiteX80" fmla="*/ 313730 w 369526"/>
              <a:gd name="connsiteY80" fmla="*/ 188640 h 375969"/>
              <a:gd name="connsiteX81" fmla="*/ 309086 w 369526"/>
              <a:gd name="connsiteY81" fmla="*/ 183560 h 375969"/>
              <a:gd name="connsiteX82" fmla="*/ 309086 w 369526"/>
              <a:gd name="connsiteY82" fmla="*/ 183197 h 375969"/>
              <a:gd name="connsiteX83" fmla="*/ 305515 w 369526"/>
              <a:gd name="connsiteY83" fmla="*/ 157797 h 375969"/>
              <a:gd name="connsiteX84" fmla="*/ 309086 w 369526"/>
              <a:gd name="connsiteY84" fmla="*/ 151628 h 375969"/>
              <a:gd name="connsiteX85" fmla="*/ 278413 w 369526"/>
              <a:gd name="connsiteY85" fmla="*/ 97104 h 375969"/>
              <a:gd name="connsiteX86" fmla="*/ 285342 w 369526"/>
              <a:gd name="connsiteY86" fmla="*/ 97456 h 375969"/>
              <a:gd name="connsiteX87" fmla="*/ 301389 w 369526"/>
              <a:gd name="connsiteY87" fmla="*/ 119681 h 375969"/>
              <a:gd name="connsiteX88" fmla="*/ 299565 w 369526"/>
              <a:gd name="connsiteY88" fmla="*/ 126031 h 375969"/>
              <a:gd name="connsiteX89" fmla="*/ 297013 w 369526"/>
              <a:gd name="connsiteY89" fmla="*/ 126737 h 375969"/>
              <a:gd name="connsiteX90" fmla="*/ 293001 w 369526"/>
              <a:gd name="connsiteY90" fmla="*/ 124268 h 375969"/>
              <a:gd name="connsiteX91" fmla="*/ 278049 w 369526"/>
              <a:gd name="connsiteY91" fmla="*/ 104159 h 375969"/>
              <a:gd name="connsiteX92" fmla="*/ 278413 w 369526"/>
              <a:gd name="connsiteY92" fmla="*/ 97104 h 375969"/>
              <a:gd name="connsiteX93" fmla="*/ 232626 w 369526"/>
              <a:gd name="connsiteY93" fmla="*/ 61531 h 375969"/>
              <a:gd name="connsiteX94" fmla="*/ 257110 w 369526"/>
              <a:gd name="connsiteY94" fmla="*/ 74182 h 375969"/>
              <a:gd name="connsiteX95" fmla="*/ 258550 w 369526"/>
              <a:gd name="connsiteY95" fmla="*/ 81251 h 375969"/>
              <a:gd name="connsiteX96" fmla="*/ 254589 w 369526"/>
              <a:gd name="connsiteY96" fmla="*/ 83856 h 375969"/>
              <a:gd name="connsiteX97" fmla="*/ 251709 w 369526"/>
              <a:gd name="connsiteY97" fmla="*/ 82739 h 375969"/>
              <a:gd name="connsiteX98" fmla="*/ 229386 w 369526"/>
              <a:gd name="connsiteY98" fmla="*/ 70833 h 375969"/>
              <a:gd name="connsiteX99" fmla="*/ 226505 w 369526"/>
              <a:gd name="connsiteY99" fmla="*/ 64508 h 375969"/>
              <a:gd name="connsiteX100" fmla="*/ 232626 w 369526"/>
              <a:gd name="connsiteY100" fmla="*/ 61531 h 375969"/>
              <a:gd name="connsiteX101" fmla="*/ 126767 w 369526"/>
              <a:gd name="connsiteY101" fmla="*/ 10079 h 375969"/>
              <a:gd name="connsiteX102" fmla="*/ 97319 w 369526"/>
              <a:gd name="connsiteY102" fmla="*/ 22379 h 375969"/>
              <a:gd name="connsiteX103" fmla="*/ 85469 w 369526"/>
              <a:gd name="connsiteY103" fmla="*/ 24188 h 375969"/>
              <a:gd name="connsiteX104" fmla="*/ 67513 w 369526"/>
              <a:gd name="connsiteY104" fmla="*/ 19123 h 375969"/>
              <a:gd name="connsiteX105" fmla="*/ 34474 w 369526"/>
              <a:gd name="connsiteY105" fmla="*/ 53129 h 375969"/>
              <a:gd name="connsiteX106" fmla="*/ 34474 w 369526"/>
              <a:gd name="connsiteY106" fmla="*/ 53490 h 375969"/>
              <a:gd name="connsiteX107" fmla="*/ 63922 w 369526"/>
              <a:gd name="connsiteY107" fmla="*/ 63258 h 375969"/>
              <a:gd name="connsiteX108" fmla="*/ 63922 w 369526"/>
              <a:gd name="connsiteY108" fmla="*/ 70132 h 375969"/>
              <a:gd name="connsiteX109" fmla="*/ 57099 w 369526"/>
              <a:gd name="connsiteY109" fmla="*/ 69770 h 375969"/>
              <a:gd name="connsiteX110" fmla="*/ 30165 w 369526"/>
              <a:gd name="connsiteY110" fmla="*/ 63620 h 375969"/>
              <a:gd name="connsiteX111" fmla="*/ 21906 w 369526"/>
              <a:gd name="connsiteY111" fmla="*/ 66152 h 375969"/>
              <a:gd name="connsiteX112" fmla="*/ 11491 w 369526"/>
              <a:gd name="connsiteY112" fmla="*/ 78090 h 375969"/>
              <a:gd name="connsiteX113" fmla="*/ 9696 w 369526"/>
              <a:gd name="connsiteY113" fmla="*/ 88581 h 375969"/>
              <a:gd name="connsiteX114" fmla="*/ 33756 w 369526"/>
              <a:gd name="connsiteY114" fmla="*/ 112096 h 375969"/>
              <a:gd name="connsiteX115" fmla="*/ 155495 w 369526"/>
              <a:gd name="connsiteY115" fmla="*/ 112096 h 375969"/>
              <a:gd name="connsiteX116" fmla="*/ 179197 w 369526"/>
              <a:gd name="connsiteY116" fmla="*/ 87496 h 375969"/>
              <a:gd name="connsiteX117" fmla="*/ 161241 w 369526"/>
              <a:gd name="connsiteY117" fmla="*/ 63620 h 375969"/>
              <a:gd name="connsiteX118" fmla="*/ 146159 w 369526"/>
              <a:gd name="connsiteY118" fmla="*/ 82793 h 375969"/>
              <a:gd name="connsiteX119" fmla="*/ 142927 w 369526"/>
              <a:gd name="connsiteY119" fmla="*/ 84240 h 375969"/>
              <a:gd name="connsiteX120" fmla="*/ 139335 w 369526"/>
              <a:gd name="connsiteY120" fmla="*/ 82793 h 375969"/>
              <a:gd name="connsiteX121" fmla="*/ 139335 w 369526"/>
              <a:gd name="connsiteY121" fmla="*/ 75558 h 375969"/>
              <a:gd name="connsiteX122" fmla="*/ 154777 w 369526"/>
              <a:gd name="connsiteY122" fmla="*/ 53490 h 375969"/>
              <a:gd name="connsiteX123" fmla="*/ 155136 w 369526"/>
              <a:gd name="connsiteY123" fmla="*/ 52405 h 375969"/>
              <a:gd name="connsiteX124" fmla="*/ 155136 w 369526"/>
              <a:gd name="connsiteY124" fmla="*/ 36126 h 375969"/>
              <a:gd name="connsiteX125" fmla="*/ 126767 w 369526"/>
              <a:gd name="connsiteY125" fmla="*/ 10079 h 375969"/>
              <a:gd name="connsiteX126" fmla="*/ 128203 w 369526"/>
              <a:gd name="connsiteY126" fmla="*/ 312 h 375969"/>
              <a:gd name="connsiteX127" fmla="*/ 164832 w 369526"/>
              <a:gd name="connsiteY127" fmla="*/ 33955 h 375969"/>
              <a:gd name="connsiteX128" fmla="*/ 164473 w 369526"/>
              <a:gd name="connsiteY128" fmla="*/ 54214 h 375969"/>
              <a:gd name="connsiteX129" fmla="*/ 165910 w 369526"/>
              <a:gd name="connsiteY129" fmla="*/ 54576 h 375969"/>
              <a:gd name="connsiteX130" fmla="*/ 168423 w 369526"/>
              <a:gd name="connsiteY130" fmla="*/ 53490 h 375969"/>
              <a:gd name="connsiteX131" fmla="*/ 179197 w 369526"/>
              <a:gd name="connsiteY131" fmla="*/ 52767 h 375969"/>
              <a:gd name="connsiteX132" fmla="*/ 195357 w 369526"/>
              <a:gd name="connsiteY132" fmla="*/ 53129 h 375969"/>
              <a:gd name="connsiteX133" fmla="*/ 199666 w 369526"/>
              <a:gd name="connsiteY133" fmla="*/ 58555 h 375969"/>
              <a:gd name="connsiteX134" fmla="*/ 194639 w 369526"/>
              <a:gd name="connsiteY134" fmla="*/ 62896 h 375969"/>
              <a:gd name="connsiteX135" fmla="*/ 179197 w 369526"/>
              <a:gd name="connsiteY135" fmla="*/ 62535 h 375969"/>
              <a:gd name="connsiteX136" fmla="*/ 178838 w 369526"/>
              <a:gd name="connsiteY136" fmla="*/ 62535 h 375969"/>
              <a:gd name="connsiteX137" fmla="*/ 189252 w 369526"/>
              <a:gd name="connsiteY137" fmla="*/ 87496 h 375969"/>
              <a:gd name="connsiteX138" fmla="*/ 155495 w 369526"/>
              <a:gd name="connsiteY138" fmla="*/ 121863 h 375969"/>
              <a:gd name="connsiteX139" fmla="*/ 80082 w 369526"/>
              <a:gd name="connsiteY139" fmla="*/ 121863 h 375969"/>
              <a:gd name="connsiteX140" fmla="*/ 75414 w 369526"/>
              <a:gd name="connsiteY140" fmla="*/ 130184 h 375969"/>
              <a:gd name="connsiteX141" fmla="*/ 70745 w 369526"/>
              <a:gd name="connsiteY141" fmla="*/ 133078 h 375969"/>
              <a:gd name="connsiteX142" fmla="*/ 68591 w 369526"/>
              <a:gd name="connsiteY142" fmla="*/ 132354 h 375969"/>
              <a:gd name="connsiteX143" fmla="*/ 66795 w 369526"/>
              <a:gd name="connsiteY143" fmla="*/ 125481 h 375969"/>
              <a:gd name="connsiteX144" fmla="*/ 68591 w 369526"/>
              <a:gd name="connsiteY144" fmla="*/ 121863 h 375969"/>
              <a:gd name="connsiteX145" fmla="*/ 33756 w 369526"/>
              <a:gd name="connsiteY145" fmla="*/ 121863 h 375969"/>
              <a:gd name="connsiteX146" fmla="*/ 0 w 369526"/>
              <a:gd name="connsiteY146" fmla="*/ 90390 h 375969"/>
              <a:gd name="connsiteX147" fmla="*/ 0 w 369526"/>
              <a:gd name="connsiteY147" fmla="*/ 90028 h 375969"/>
              <a:gd name="connsiteX148" fmla="*/ 0 w 369526"/>
              <a:gd name="connsiteY148" fmla="*/ 88581 h 375969"/>
              <a:gd name="connsiteX149" fmla="*/ 0 w 369526"/>
              <a:gd name="connsiteY149" fmla="*/ 87496 h 375969"/>
              <a:gd name="connsiteX150" fmla="*/ 3591 w 369526"/>
              <a:gd name="connsiteY150" fmla="*/ 72664 h 375969"/>
              <a:gd name="connsiteX151" fmla="*/ 17596 w 369526"/>
              <a:gd name="connsiteY151" fmla="*/ 57108 h 375969"/>
              <a:gd name="connsiteX152" fmla="*/ 24419 w 369526"/>
              <a:gd name="connsiteY152" fmla="*/ 54214 h 375969"/>
              <a:gd name="connsiteX153" fmla="*/ 25138 w 369526"/>
              <a:gd name="connsiteY153" fmla="*/ 53852 h 375969"/>
              <a:gd name="connsiteX154" fmla="*/ 24778 w 369526"/>
              <a:gd name="connsiteY154" fmla="*/ 53129 h 375969"/>
              <a:gd name="connsiteX155" fmla="*/ 67513 w 369526"/>
              <a:gd name="connsiteY155" fmla="*/ 8994 h 375969"/>
              <a:gd name="connsiteX156" fmla="*/ 90137 w 369526"/>
              <a:gd name="connsiteY156" fmla="*/ 15867 h 375969"/>
              <a:gd name="connsiteX157" fmla="*/ 128203 w 369526"/>
              <a:gd name="connsiteY157" fmla="*/ 312 h 3759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369526" h="375969">
                <a:moveTo>
                  <a:pt x="260119" y="330680"/>
                </a:moveTo>
                <a:lnTo>
                  <a:pt x="260119" y="342901"/>
                </a:lnTo>
                <a:cubicBezTo>
                  <a:pt x="260119" y="351887"/>
                  <a:pt x="256148" y="360513"/>
                  <a:pt x="249287" y="366264"/>
                </a:cubicBezTo>
                <a:lnTo>
                  <a:pt x="255064" y="366264"/>
                </a:lnTo>
                <a:lnTo>
                  <a:pt x="305976" y="366264"/>
                </a:lnTo>
                <a:cubicBezTo>
                  <a:pt x="299116" y="360513"/>
                  <a:pt x="295144" y="351887"/>
                  <a:pt x="295144" y="342901"/>
                </a:cubicBezTo>
                <a:lnTo>
                  <a:pt x="295144" y="330680"/>
                </a:lnTo>
                <a:close/>
                <a:moveTo>
                  <a:pt x="280021" y="308065"/>
                </a:moveTo>
                <a:cubicBezTo>
                  <a:pt x="282092" y="308065"/>
                  <a:pt x="283817" y="309719"/>
                  <a:pt x="283817" y="311703"/>
                </a:cubicBezTo>
                <a:cubicBezTo>
                  <a:pt x="283817" y="313688"/>
                  <a:pt x="282092" y="315672"/>
                  <a:pt x="280021" y="315672"/>
                </a:cubicBezTo>
                <a:cubicBezTo>
                  <a:pt x="277951" y="315672"/>
                  <a:pt x="276225" y="313688"/>
                  <a:pt x="276225" y="311703"/>
                </a:cubicBezTo>
                <a:cubicBezTo>
                  <a:pt x="276225" y="309719"/>
                  <a:pt x="277951" y="308065"/>
                  <a:pt x="280021" y="308065"/>
                </a:cubicBezTo>
                <a:close/>
                <a:moveTo>
                  <a:pt x="144685" y="306823"/>
                </a:moveTo>
                <a:cubicBezTo>
                  <a:pt x="152717" y="309929"/>
                  <a:pt x="161481" y="311655"/>
                  <a:pt x="169513" y="312345"/>
                </a:cubicBezTo>
                <a:cubicBezTo>
                  <a:pt x="172434" y="312690"/>
                  <a:pt x="174260" y="315106"/>
                  <a:pt x="173895" y="317867"/>
                </a:cubicBezTo>
                <a:cubicBezTo>
                  <a:pt x="173530" y="319937"/>
                  <a:pt x="171704" y="322008"/>
                  <a:pt x="169148" y="322008"/>
                </a:cubicBezTo>
                <a:cubicBezTo>
                  <a:pt x="169148" y="322008"/>
                  <a:pt x="168783" y="322008"/>
                  <a:pt x="168418" y="321663"/>
                </a:cubicBezTo>
                <a:cubicBezTo>
                  <a:pt x="159290" y="320628"/>
                  <a:pt x="150527" y="318902"/>
                  <a:pt x="141764" y="316141"/>
                </a:cubicBezTo>
                <a:cubicBezTo>
                  <a:pt x="139208" y="315106"/>
                  <a:pt x="138112" y="312345"/>
                  <a:pt x="138843" y="309929"/>
                </a:cubicBezTo>
                <a:cubicBezTo>
                  <a:pt x="139573" y="307514"/>
                  <a:pt x="142494" y="306478"/>
                  <a:pt x="144685" y="306823"/>
                </a:cubicBezTo>
                <a:close/>
                <a:moveTo>
                  <a:pt x="195125" y="305520"/>
                </a:moveTo>
                <a:lnTo>
                  <a:pt x="195125" y="318100"/>
                </a:lnTo>
                <a:cubicBezTo>
                  <a:pt x="195125" y="319538"/>
                  <a:pt x="196570" y="320975"/>
                  <a:pt x="198375" y="320975"/>
                </a:cubicBezTo>
                <a:lnTo>
                  <a:pt x="250370" y="320975"/>
                </a:lnTo>
                <a:lnTo>
                  <a:pt x="304893" y="320975"/>
                </a:lnTo>
                <a:lnTo>
                  <a:pt x="356888" y="320975"/>
                </a:lnTo>
                <a:cubicBezTo>
                  <a:pt x="358333" y="320975"/>
                  <a:pt x="359777" y="319538"/>
                  <a:pt x="359777" y="318100"/>
                </a:cubicBezTo>
                <a:lnTo>
                  <a:pt x="359777" y="305520"/>
                </a:lnTo>
                <a:close/>
                <a:moveTo>
                  <a:pt x="89158" y="275338"/>
                </a:moveTo>
                <a:cubicBezTo>
                  <a:pt x="91373" y="273140"/>
                  <a:pt x="94327" y="273140"/>
                  <a:pt x="96173" y="275338"/>
                </a:cubicBezTo>
                <a:cubicBezTo>
                  <a:pt x="102080" y="281566"/>
                  <a:pt x="108725" y="287428"/>
                  <a:pt x="115740" y="292190"/>
                </a:cubicBezTo>
                <a:cubicBezTo>
                  <a:pt x="117955" y="293656"/>
                  <a:pt x="118693" y="296953"/>
                  <a:pt x="117216" y="299151"/>
                </a:cubicBezTo>
                <a:cubicBezTo>
                  <a:pt x="116109" y="300616"/>
                  <a:pt x="114632" y="301349"/>
                  <a:pt x="112786" y="301349"/>
                </a:cubicBezTo>
                <a:cubicBezTo>
                  <a:pt x="112048" y="301349"/>
                  <a:pt x="110940" y="300983"/>
                  <a:pt x="110202" y="300250"/>
                </a:cubicBezTo>
                <a:cubicBezTo>
                  <a:pt x="102449" y="295121"/>
                  <a:pt x="95434" y="288893"/>
                  <a:pt x="89158" y="282299"/>
                </a:cubicBezTo>
                <a:cubicBezTo>
                  <a:pt x="87312" y="280101"/>
                  <a:pt x="87312" y="277170"/>
                  <a:pt x="89158" y="275338"/>
                </a:cubicBezTo>
                <a:close/>
                <a:moveTo>
                  <a:pt x="59476" y="219878"/>
                </a:moveTo>
                <a:cubicBezTo>
                  <a:pt x="61967" y="219165"/>
                  <a:pt x="64814" y="220591"/>
                  <a:pt x="65170" y="223442"/>
                </a:cubicBezTo>
                <a:cubicBezTo>
                  <a:pt x="67305" y="231282"/>
                  <a:pt x="70863" y="239122"/>
                  <a:pt x="74421" y="246963"/>
                </a:cubicBezTo>
                <a:cubicBezTo>
                  <a:pt x="75844" y="249101"/>
                  <a:pt x="74777" y="251952"/>
                  <a:pt x="72286" y="253377"/>
                </a:cubicBezTo>
                <a:cubicBezTo>
                  <a:pt x="71930" y="253734"/>
                  <a:pt x="70863" y="253734"/>
                  <a:pt x="70151" y="253734"/>
                </a:cubicBezTo>
                <a:cubicBezTo>
                  <a:pt x="68728" y="253734"/>
                  <a:pt x="66949" y="253021"/>
                  <a:pt x="66237" y="251239"/>
                </a:cubicBezTo>
                <a:cubicBezTo>
                  <a:pt x="61967" y="243043"/>
                  <a:pt x="58409" y="234489"/>
                  <a:pt x="56274" y="225936"/>
                </a:cubicBezTo>
                <a:cubicBezTo>
                  <a:pt x="55562" y="223442"/>
                  <a:pt x="56986" y="220591"/>
                  <a:pt x="59476" y="219878"/>
                </a:cubicBezTo>
                <a:close/>
                <a:moveTo>
                  <a:pt x="198375" y="214582"/>
                </a:moveTo>
                <a:cubicBezTo>
                  <a:pt x="196570" y="214582"/>
                  <a:pt x="195125" y="215661"/>
                  <a:pt x="195125" y="217458"/>
                </a:cubicBezTo>
                <a:lnTo>
                  <a:pt x="195125" y="295456"/>
                </a:lnTo>
                <a:lnTo>
                  <a:pt x="359777" y="295456"/>
                </a:lnTo>
                <a:lnTo>
                  <a:pt x="359777" y="217458"/>
                </a:lnTo>
                <a:cubicBezTo>
                  <a:pt x="359777" y="215661"/>
                  <a:pt x="358333" y="214582"/>
                  <a:pt x="356888" y="214582"/>
                </a:cubicBezTo>
                <a:close/>
                <a:moveTo>
                  <a:pt x="198375" y="204878"/>
                </a:moveTo>
                <a:lnTo>
                  <a:pt x="356888" y="204878"/>
                </a:lnTo>
                <a:cubicBezTo>
                  <a:pt x="363749" y="204878"/>
                  <a:pt x="369526" y="210629"/>
                  <a:pt x="369526" y="217458"/>
                </a:cubicBezTo>
                <a:lnTo>
                  <a:pt x="369526" y="318100"/>
                </a:lnTo>
                <a:cubicBezTo>
                  <a:pt x="369526" y="324929"/>
                  <a:pt x="363749" y="330680"/>
                  <a:pt x="356888" y="330680"/>
                </a:cubicBezTo>
                <a:lnTo>
                  <a:pt x="304893" y="330680"/>
                </a:lnTo>
                <a:lnTo>
                  <a:pt x="304893" y="342901"/>
                </a:lnTo>
                <a:cubicBezTo>
                  <a:pt x="304893" y="348652"/>
                  <a:pt x="307421" y="354762"/>
                  <a:pt x="312115" y="358357"/>
                </a:cubicBezTo>
                <a:cubicBezTo>
                  <a:pt x="315364" y="360873"/>
                  <a:pt x="316448" y="365545"/>
                  <a:pt x="315003" y="369499"/>
                </a:cubicBezTo>
                <a:cubicBezTo>
                  <a:pt x="313920" y="373453"/>
                  <a:pt x="309948" y="375969"/>
                  <a:pt x="305976" y="375969"/>
                </a:cubicBezTo>
                <a:lnTo>
                  <a:pt x="249287" y="375969"/>
                </a:lnTo>
                <a:cubicBezTo>
                  <a:pt x="244954" y="375969"/>
                  <a:pt x="241343" y="373453"/>
                  <a:pt x="239899" y="369499"/>
                </a:cubicBezTo>
                <a:cubicBezTo>
                  <a:pt x="238455" y="365545"/>
                  <a:pt x="239538" y="360873"/>
                  <a:pt x="242788" y="358357"/>
                </a:cubicBezTo>
                <a:cubicBezTo>
                  <a:pt x="247482" y="354762"/>
                  <a:pt x="250370" y="348652"/>
                  <a:pt x="250370" y="342901"/>
                </a:cubicBezTo>
                <a:lnTo>
                  <a:pt x="250370" y="330680"/>
                </a:lnTo>
                <a:lnTo>
                  <a:pt x="198375" y="330680"/>
                </a:lnTo>
                <a:cubicBezTo>
                  <a:pt x="191153" y="330680"/>
                  <a:pt x="185737" y="324929"/>
                  <a:pt x="185737" y="318100"/>
                </a:cubicBezTo>
                <a:lnTo>
                  <a:pt x="185737" y="217458"/>
                </a:lnTo>
                <a:cubicBezTo>
                  <a:pt x="185737" y="210629"/>
                  <a:pt x="191153" y="204878"/>
                  <a:pt x="198375" y="204878"/>
                </a:cubicBezTo>
                <a:close/>
                <a:moveTo>
                  <a:pt x="60733" y="156397"/>
                </a:moveTo>
                <a:cubicBezTo>
                  <a:pt x="63273" y="157130"/>
                  <a:pt x="64724" y="159695"/>
                  <a:pt x="64362" y="162259"/>
                </a:cubicBezTo>
                <a:cubicBezTo>
                  <a:pt x="62547" y="170685"/>
                  <a:pt x="61822" y="179477"/>
                  <a:pt x="61822" y="188270"/>
                </a:cubicBezTo>
                <a:cubicBezTo>
                  <a:pt x="61822" y="190834"/>
                  <a:pt x="59644" y="193398"/>
                  <a:pt x="56742" y="193398"/>
                </a:cubicBezTo>
                <a:cubicBezTo>
                  <a:pt x="54201" y="193398"/>
                  <a:pt x="52387" y="190834"/>
                  <a:pt x="52387" y="188270"/>
                </a:cubicBezTo>
                <a:cubicBezTo>
                  <a:pt x="52387" y="178745"/>
                  <a:pt x="53112" y="169586"/>
                  <a:pt x="54927" y="160061"/>
                </a:cubicBezTo>
                <a:cubicBezTo>
                  <a:pt x="55290" y="157496"/>
                  <a:pt x="58193" y="155665"/>
                  <a:pt x="60733" y="156397"/>
                </a:cubicBezTo>
                <a:close/>
                <a:moveTo>
                  <a:pt x="309086" y="151628"/>
                </a:moveTo>
                <a:cubicBezTo>
                  <a:pt x="311229" y="150903"/>
                  <a:pt x="314087" y="152717"/>
                  <a:pt x="314801" y="155257"/>
                </a:cubicBezTo>
                <a:cubicBezTo>
                  <a:pt x="316944" y="164328"/>
                  <a:pt x="318016" y="173400"/>
                  <a:pt x="318373" y="182834"/>
                </a:cubicBezTo>
                <a:lnTo>
                  <a:pt x="318730" y="183197"/>
                </a:lnTo>
                <a:cubicBezTo>
                  <a:pt x="318730" y="186100"/>
                  <a:pt x="316587" y="188277"/>
                  <a:pt x="313730" y="188640"/>
                </a:cubicBezTo>
                <a:cubicBezTo>
                  <a:pt x="311229" y="188640"/>
                  <a:pt x="309086" y="186463"/>
                  <a:pt x="309086" y="183560"/>
                </a:cubicBezTo>
                <a:lnTo>
                  <a:pt x="309086" y="183197"/>
                </a:lnTo>
                <a:cubicBezTo>
                  <a:pt x="308372" y="174488"/>
                  <a:pt x="307300" y="165780"/>
                  <a:pt x="305515" y="157797"/>
                </a:cubicBezTo>
                <a:cubicBezTo>
                  <a:pt x="304800" y="154894"/>
                  <a:pt x="306229" y="152354"/>
                  <a:pt x="309086" y="151628"/>
                </a:cubicBezTo>
                <a:close/>
                <a:moveTo>
                  <a:pt x="278413" y="97104"/>
                </a:moveTo>
                <a:cubicBezTo>
                  <a:pt x="280237" y="95340"/>
                  <a:pt x="283519" y="95693"/>
                  <a:pt x="285342" y="97456"/>
                </a:cubicBezTo>
                <a:cubicBezTo>
                  <a:pt x="291542" y="104159"/>
                  <a:pt x="297013" y="111920"/>
                  <a:pt x="301389" y="119681"/>
                </a:cubicBezTo>
                <a:cubicBezTo>
                  <a:pt x="302848" y="121798"/>
                  <a:pt x="302118" y="124620"/>
                  <a:pt x="299565" y="126031"/>
                </a:cubicBezTo>
                <a:cubicBezTo>
                  <a:pt x="298836" y="126384"/>
                  <a:pt x="298107" y="126737"/>
                  <a:pt x="297013" y="126737"/>
                </a:cubicBezTo>
                <a:cubicBezTo>
                  <a:pt x="295554" y="126737"/>
                  <a:pt x="293730" y="125679"/>
                  <a:pt x="293001" y="124268"/>
                </a:cubicBezTo>
                <a:cubicBezTo>
                  <a:pt x="288625" y="116859"/>
                  <a:pt x="283884" y="110156"/>
                  <a:pt x="278049" y="104159"/>
                </a:cubicBezTo>
                <a:cubicBezTo>
                  <a:pt x="276225" y="102043"/>
                  <a:pt x="276225" y="98868"/>
                  <a:pt x="278413" y="97104"/>
                </a:cubicBezTo>
                <a:close/>
                <a:moveTo>
                  <a:pt x="232626" y="61531"/>
                </a:moveTo>
                <a:cubicBezTo>
                  <a:pt x="241268" y="64880"/>
                  <a:pt x="249189" y="68973"/>
                  <a:pt x="257110" y="74182"/>
                </a:cubicBezTo>
                <a:cubicBezTo>
                  <a:pt x="259270" y="75670"/>
                  <a:pt x="259990" y="79019"/>
                  <a:pt x="258550" y="81251"/>
                </a:cubicBezTo>
                <a:cubicBezTo>
                  <a:pt x="257470" y="82739"/>
                  <a:pt x="256030" y="83856"/>
                  <a:pt x="254589" y="83856"/>
                </a:cubicBezTo>
                <a:cubicBezTo>
                  <a:pt x="253509" y="83856"/>
                  <a:pt x="252789" y="83484"/>
                  <a:pt x="251709" y="82739"/>
                </a:cubicBezTo>
                <a:cubicBezTo>
                  <a:pt x="244508" y="78275"/>
                  <a:pt x="237307" y="74182"/>
                  <a:pt x="229386" y="70833"/>
                </a:cubicBezTo>
                <a:cubicBezTo>
                  <a:pt x="226865" y="70089"/>
                  <a:pt x="225425" y="67112"/>
                  <a:pt x="226505" y="64508"/>
                </a:cubicBezTo>
                <a:cubicBezTo>
                  <a:pt x="227586" y="61903"/>
                  <a:pt x="230466" y="60415"/>
                  <a:pt x="232626" y="61531"/>
                </a:cubicBezTo>
                <a:close/>
                <a:moveTo>
                  <a:pt x="126767" y="10079"/>
                </a:moveTo>
                <a:cubicBezTo>
                  <a:pt x="115634" y="8632"/>
                  <a:pt x="104502" y="13335"/>
                  <a:pt x="97319" y="22379"/>
                </a:cubicBezTo>
                <a:cubicBezTo>
                  <a:pt x="94447" y="25997"/>
                  <a:pt x="89060" y="27082"/>
                  <a:pt x="85469" y="24188"/>
                </a:cubicBezTo>
                <a:cubicBezTo>
                  <a:pt x="80082" y="20932"/>
                  <a:pt x="73977" y="19123"/>
                  <a:pt x="67513" y="19123"/>
                </a:cubicBezTo>
                <a:cubicBezTo>
                  <a:pt x="49198" y="19123"/>
                  <a:pt x="34474" y="34317"/>
                  <a:pt x="34474" y="53129"/>
                </a:cubicBezTo>
                <a:lnTo>
                  <a:pt x="34474" y="53490"/>
                </a:lnTo>
                <a:cubicBezTo>
                  <a:pt x="54226" y="52767"/>
                  <a:pt x="63563" y="62535"/>
                  <a:pt x="63922" y="63258"/>
                </a:cubicBezTo>
                <a:cubicBezTo>
                  <a:pt x="65718" y="65429"/>
                  <a:pt x="65718" y="68323"/>
                  <a:pt x="63922" y="70132"/>
                </a:cubicBezTo>
                <a:cubicBezTo>
                  <a:pt x="61767" y="71940"/>
                  <a:pt x="58895" y="71940"/>
                  <a:pt x="57099" y="69770"/>
                </a:cubicBezTo>
                <a:cubicBezTo>
                  <a:pt x="56740" y="69408"/>
                  <a:pt x="48839" y="61449"/>
                  <a:pt x="30165" y="63620"/>
                </a:cubicBezTo>
                <a:cubicBezTo>
                  <a:pt x="26933" y="63982"/>
                  <a:pt x="24060" y="65067"/>
                  <a:pt x="21906" y="66152"/>
                </a:cubicBezTo>
                <a:cubicBezTo>
                  <a:pt x="17237" y="68684"/>
                  <a:pt x="13646" y="73026"/>
                  <a:pt x="11491" y="78090"/>
                </a:cubicBezTo>
                <a:cubicBezTo>
                  <a:pt x="10055" y="82431"/>
                  <a:pt x="9696" y="86773"/>
                  <a:pt x="9696" y="88581"/>
                </a:cubicBezTo>
                <a:cubicBezTo>
                  <a:pt x="10414" y="101605"/>
                  <a:pt x="20828" y="112096"/>
                  <a:pt x="33756" y="112096"/>
                </a:cubicBezTo>
                <a:lnTo>
                  <a:pt x="155495" y="112096"/>
                </a:lnTo>
                <a:cubicBezTo>
                  <a:pt x="168783" y="112096"/>
                  <a:pt x="179197" y="101243"/>
                  <a:pt x="179197" y="87496"/>
                </a:cubicBezTo>
                <a:cubicBezTo>
                  <a:pt x="179197" y="75920"/>
                  <a:pt x="172015" y="66152"/>
                  <a:pt x="161241" y="63620"/>
                </a:cubicBezTo>
                <a:cubicBezTo>
                  <a:pt x="158368" y="67961"/>
                  <a:pt x="154059" y="74473"/>
                  <a:pt x="146159" y="82793"/>
                </a:cubicBezTo>
                <a:cubicBezTo>
                  <a:pt x="145440" y="83517"/>
                  <a:pt x="144004" y="84240"/>
                  <a:pt x="142927" y="84240"/>
                </a:cubicBezTo>
                <a:cubicBezTo>
                  <a:pt x="141490" y="84240"/>
                  <a:pt x="140413" y="83517"/>
                  <a:pt x="139335" y="82793"/>
                </a:cubicBezTo>
                <a:cubicBezTo>
                  <a:pt x="137540" y="80623"/>
                  <a:pt x="137540" y="77728"/>
                  <a:pt x="139335" y="75558"/>
                </a:cubicBezTo>
                <a:cubicBezTo>
                  <a:pt x="153341" y="61449"/>
                  <a:pt x="154777" y="53852"/>
                  <a:pt x="154777" y="53490"/>
                </a:cubicBezTo>
                <a:cubicBezTo>
                  <a:pt x="154777" y="53129"/>
                  <a:pt x="154777" y="52767"/>
                  <a:pt x="155136" y="52405"/>
                </a:cubicBezTo>
                <a:cubicBezTo>
                  <a:pt x="156214" y="46979"/>
                  <a:pt x="156214" y="41552"/>
                  <a:pt x="155136" y="36126"/>
                </a:cubicBezTo>
                <a:cubicBezTo>
                  <a:pt x="152263" y="22741"/>
                  <a:pt x="140413" y="11526"/>
                  <a:pt x="126767" y="10079"/>
                </a:cubicBezTo>
                <a:close/>
                <a:moveTo>
                  <a:pt x="128203" y="312"/>
                </a:moveTo>
                <a:cubicBezTo>
                  <a:pt x="146159" y="2482"/>
                  <a:pt x="160882" y="15867"/>
                  <a:pt x="164832" y="33955"/>
                </a:cubicBezTo>
                <a:cubicBezTo>
                  <a:pt x="165910" y="40829"/>
                  <a:pt x="165910" y="47702"/>
                  <a:pt x="164473" y="54214"/>
                </a:cubicBezTo>
                <a:cubicBezTo>
                  <a:pt x="164832" y="54576"/>
                  <a:pt x="165191" y="54576"/>
                  <a:pt x="165910" y="54576"/>
                </a:cubicBezTo>
                <a:cubicBezTo>
                  <a:pt x="166628" y="54214"/>
                  <a:pt x="167346" y="53852"/>
                  <a:pt x="168423" y="53490"/>
                </a:cubicBezTo>
                <a:cubicBezTo>
                  <a:pt x="172015" y="53129"/>
                  <a:pt x="175247" y="52767"/>
                  <a:pt x="179197" y="52767"/>
                </a:cubicBezTo>
                <a:cubicBezTo>
                  <a:pt x="184583" y="52405"/>
                  <a:pt x="189970" y="52767"/>
                  <a:pt x="195357" y="53129"/>
                </a:cubicBezTo>
                <a:cubicBezTo>
                  <a:pt x="197871" y="53129"/>
                  <a:pt x="199666" y="55661"/>
                  <a:pt x="199666" y="58555"/>
                </a:cubicBezTo>
                <a:cubicBezTo>
                  <a:pt x="199307" y="61087"/>
                  <a:pt x="197152" y="62896"/>
                  <a:pt x="194639" y="62896"/>
                </a:cubicBezTo>
                <a:cubicBezTo>
                  <a:pt x="189611" y="62535"/>
                  <a:pt x="184583" y="62535"/>
                  <a:pt x="179197" y="62535"/>
                </a:cubicBezTo>
                <a:lnTo>
                  <a:pt x="178838" y="62535"/>
                </a:lnTo>
                <a:cubicBezTo>
                  <a:pt x="185302" y="69046"/>
                  <a:pt x="189252" y="77728"/>
                  <a:pt x="189252" y="87496"/>
                </a:cubicBezTo>
                <a:cubicBezTo>
                  <a:pt x="189252" y="106308"/>
                  <a:pt x="173810" y="121863"/>
                  <a:pt x="155495" y="121863"/>
                </a:cubicBezTo>
                <a:lnTo>
                  <a:pt x="80082" y="121863"/>
                </a:lnTo>
                <a:cubicBezTo>
                  <a:pt x="78287" y="124757"/>
                  <a:pt x="76491" y="127290"/>
                  <a:pt x="75414" y="130184"/>
                </a:cubicBezTo>
                <a:cubicBezTo>
                  <a:pt x="74336" y="131993"/>
                  <a:pt x="72541" y="133078"/>
                  <a:pt x="70745" y="133078"/>
                </a:cubicBezTo>
                <a:cubicBezTo>
                  <a:pt x="70386" y="133078"/>
                  <a:pt x="69309" y="132716"/>
                  <a:pt x="68591" y="132354"/>
                </a:cubicBezTo>
                <a:cubicBezTo>
                  <a:pt x="66077" y="130907"/>
                  <a:pt x="65359" y="128013"/>
                  <a:pt x="66795" y="125481"/>
                </a:cubicBezTo>
                <a:cubicBezTo>
                  <a:pt x="67513" y="124396"/>
                  <a:pt x="67872" y="123310"/>
                  <a:pt x="68591" y="121863"/>
                </a:cubicBezTo>
                <a:lnTo>
                  <a:pt x="33756" y="121863"/>
                </a:lnTo>
                <a:cubicBezTo>
                  <a:pt x="16160" y="121863"/>
                  <a:pt x="1795" y="108116"/>
                  <a:pt x="0" y="90390"/>
                </a:cubicBezTo>
                <a:cubicBezTo>
                  <a:pt x="0" y="90028"/>
                  <a:pt x="0" y="90028"/>
                  <a:pt x="0" y="90028"/>
                </a:cubicBezTo>
                <a:cubicBezTo>
                  <a:pt x="0" y="89305"/>
                  <a:pt x="0" y="89305"/>
                  <a:pt x="0" y="88581"/>
                </a:cubicBezTo>
                <a:cubicBezTo>
                  <a:pt x="0" y="88220"/>
                  <a:pt x="0" y="87858"/>
                  <a:pt x="0" y="87496"/>
                </a:cubicBezTo>
                <a:cubicBezTo>
                  <a:pt x="0" y="82070"/>
                  <a:pt x="1436" y="77367"/>
                  <a:pt x="3591" y="72664"/>
                </a:cubicBezTo>
                <a:cubicBezTo>
                  <a:pt x="6105" y="66514"/>
                  <a:pt x="10414" y="60726"/>
                  <a:pt x="17596" y="57108"/>
                </a:cubicBezTo>
                <a:cubicBezTo>
                  <a:pt x="20110" y="56023"/>
                  <a:pt x="22265" y="54938"/>
                  <a:pt x="24419" y="54214"/>
                </a:cubicBezTo>
                <a:cubicBezTo>
                  <a:pt x="24778" y="54214"/>
                  <a:pt x="24778" y="54214"/>
                  <a:pt x="25138" y="53852"/>
                </a:cubicBezTo>
                <a:lnTo>
                  <a:pt x="24778" y="53129"/>
                </a:lnTo>
                <a:cubicBezTo>
                  <a:pt x="24778" y="28891"/>
                  <a:pt x="44170" y="8994"/>
                  <a:pt x="67513" y="8994"/>
                </a:cubicBezTo>
                <a:cubicBezTo>
                  <a:pt x="75414" y="8994"/>
                  <a:pt x="83314" y="11526"/>
                  <a:pt x="90137" y="15867"/>
                </a:cubicBezTo>
                <a:cubicBezTo>
                  <a:pt x="99474" y="4653"/>
                  <a:pt x="113479" y="-1497"/>
                  <a:pt x="128203" y="312"/>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anchor="ctr">
            <a:noAutofit/>
          </a:bodyPr>
          <a:lstStyle/>
          <a:p>
            <a:endParaRPr lang="en-US" sz="3599" dirty="0">
              <a:latin typeface="Poppins" pitchFamily="2" charset="77"/>
            </a:endParaRPr>
          </a:p>
        </p:txBody>
      </p:sp>
      <p:sp>
        <p:nvSpPr>
          <p:cNvPr id="34" name="Freeform 33">
            <a:extLst>
              <a:ext uri="{FF2B5EF4-FFF2-40B4-BE49-F238E27FC236}">
                <a16:creationId xmlns:a16="http://schemas.microsoft.com/office/drawing/2014/main" id="{AF8486D8-7773-E380-0E49-D213AC3FE3E9}"/>
              </a:ext>
            </a:extLst>
          </p:cNvPr>
          <p:cNvSpPr>
            <a:spLocks noChangeArrowheads="1"/>
          </p:cNvSpPr>
          <p:nvPr/>
        </p:nvSpPr>
        <p:spPr bwMode="auto">
          <a:xfrm>
            <a:off x="3397532" y="2930183"/>
            <a:ext cx="1350570" cy="1070317"/>
          </a:xfrm>
          <a:custGeom>
            <a:avLst/>
            <a:gdLst>
              <a:gd name="connsiteX0" fmla="*/ 260290 w 1350570"/>
              <a:gd name="connsiteY0" fmla="*/ 706754 h 1070317"/>
              <a:gd name="connsiteX1" fmla="*/ 138006 w 1350570"/>
              <a:gd name="connsiteY1" fmla="*/ 745179 h 1070317"/>
              <a:gd name="connsiteX2" fmla="*/ 351056 w 1350570"/>
              <a:gd name="connsiteY2" fmla="*/ 870371 h 1070317"/>
              <a:gd name="connsiteX3" fmla="*/ 260290 w 1350570"/>
              <a:gd name="connsiteY3" fmla="*/ 706754 h 1070317"/>
              <a:gd name="connsiteX4" fmla="*/ 462220 w 1350570"/>
              <a:gd name="connsiteY4" fmla="*/ 690265 h 1070317"/>
              <a:gd name="connsiteX5" fmla="*/ 462220 w 1350570"/>
              <a:gd name="connsiteY5" fmla="*/ 760452 h 1070317"/>
              <a:gd name="connsiteX6" fmla="*/ 499614 w 1350570"/>
              <a:gd name="connsiteY6" fmla="*/ 742905 h 1070317"/>
              <a:gd name="connsiteX7" fmla="*/ 506852 w 1350570"/>
              <a:gd name="connsiteY7" fmla="*/ 734132 h 1070317"/>
              <a:gd name="connsiteX8" fmla="*/ 506852 w 1350570"/>
              <a:gd name="connsiteY8" fmla="*/ 729119 h 1070317"/>
              <a:gd name="connsiteX9" fmla="*/ 510472 w 1350570"/>
              <a:gd name="connsiteY9" fmla="*/ 692772 h 1070317"/>
              <a:gd name="connsiteX10" fmla="*/ 462220 w 1350570"/>
              <a:gd name="connsiteY10" fmla="*/ 690265 h 1070317"/>
              <a:gd name="connsiteX11" fmla="*/ 428024 w 1350570"/>
              <a:gd name="connsiteY11" fmla="*/ 690265 h 1070317"/>
              <a:gd name="connsiteX12" fmla="*/ 291872 w 1350570"/>
              <a:gd name="connsiteY12" fmla="*/ 703984 h 1070317"/>
              <a:gd name="connsiteX13" fmla="*/ 385094 w 1350570"/>
              <a:gd name="connsiteY13" fmla="*/ 864865 h 1070317"/>
              <a:gd name="connsiteX14" fmla="*/ 428024 w 1350570"/>
              <a:gd name="connsiteY14" fmla="*/ 787542 h 1070317"/>
              <a:gd name="connsiteX15" fmla="*/ 1038232 w 1350570"/>
              <a:gd name="connsiteY15" fmla="*/ 494405 h 1070317"/>
              <a:gd name="connsiteX16" fmla="*/ 875738 w 1350570"/>
              <a:gd name="connsiteY16" fmla="*/ 560297 h 1070317"/>
              <a:gd name="connsiteX17" fmla="*/ 824490 w 1350570"/>
              <a:gd name="connsiteY17" fmla="*/ 567757 h 1070317"/>
              <a:gd name="connsiteX18" fmla="*/ 728244 w 1350570"/>
              <a:gd name="connsiteY18" fmla="*/ 539162 h 1070317"/>
              <a:gd name="connsiteX19" fmla="*/ 547002 w 1350570"/>
              <a:gd name="connsiteY19" fmla="*/ 723164 h 1070317"/>
              <a:gd name="connsiteX20" fmla="*/ 547002 w 1350570"/>
              <a:gd name="connsiteY20" fmla="*/ 726894 h 1070317"/>
              <a:gd name="connsiteX21" fmla="*/ 514504 w 1350570"/>
              <a:gd name="connsiteY21" fmla="*/ 770408 h 1070317"/>
              <a:gd name="connsiteX22" fmla="*/ 418258 w 1350570"/>
              <a:gd name="connsiteY22" fmla="*/ 899706 h 1070317"/>
              <a:gd name="connsiteX23" fmla="*/ 550752 w 1350570"/>
              <a:gd name="connsiteY23" fmla="*/ 1035221 h 1070317"/>
              <a:gd name="connsiteX24" fmla="*/ 1185726 w 1350570"/>
              <a:gd name="connsiteY24" fmla="*/ 1035221 h 1070317"/>
              <a:gd name="connsiteX25" fmla="*/ 1318220 w 1350570"/>
              <a:gd name="connsiteY25" fmla="*/ 899706 h 1070317"/>
              <a:gd name="connsiteX26" fmla="*/ 1215724 w 1350570"/>
              <a:gd name="connsiteY26" fmla="*/ 769164 h 1070317"/>
              <a:gd name="connsiteX27" fmla="*/ 1194476 w 1350570"/>
              <a:gd name="connsiteY27" fmla="*/ 751759 h 1070317"/>
              <a:gd name="connsiteX28" fmla="*/ 1189476 w 1350570"/>
              <a:gd name="connsiteY28" fmla="*/ 724407 h 1070317"/>
              <a:gd name="connsiteX29" fmla="*/ 1191976 w 1350570"/>
              <a:gd name="connsiteY29" fmla="*/ 634893 h 1070317"/>
              <a:gd name="connsiteX30" fmla="*/ 1038232 w 1350570"/>
              <a:gd name="connsiteY30" fmla="*/ 494405 h 1070317"/>
              <a:gd name="connsiteX31" fmla="*/ 462220 w 1350570"/>
              <a:gd name="connsiteY31" fmla="*/ 475956 h 1070317"/>
              <a:gd name="connsiteX32" fmla="*/ 462220 w 1350570"/>
              <a:gd name="connsiteY32" fmla="*/ 653517 h 1070317"/>
              <a:gd name="connsiteX33" fmla="*/ 520412 w 1350570"/>
              <a:gd name="connsiteY33" fmla="*/ 656036 h 1070317"/>
              <a:gd name="connsiteX34" fmla="*/ 633006 w 1350570"/>
              <a:gd name="connsiteY34" fmla="*/ 528847 h 1070317"/>
              <a:gd name="connsiteX35" fmla="*/ 636800 w 1350570"/>
              <a:gd name="connsiteY35" fmla="*/ 475956 h 1070317"/>
              <a:gd name="connsiteX36" fmla="*/ 33596 w 1350570"/>
              <a:gd name="connsiteY36" fmla="*/ 475956 h 1070317"/>
              <a:gd name="connsiteX37" fmla="*/ 119282 w 1350570"/>
              <a:gd name="connsiteY37" fmla="*/ 716504 h 1070317"/>
              <a:gd name="connsiteX38" fmla="*/ 252162 w 1350570"/>
              <a:gd name="connsiteY38" fmla="*/ 671867 h 1070317"/>
              <a:gd name="connsiteX39" fmla="*/ 226082 w 1350570"/>
              <a:gd name="connsiteY39" fmla="*/ 475956 h 1070317"/>
              <a:gd name="connsiteX40" fmla="*/ 666796 w 1350570"/>
              <a:gd name="connsiteY40" fmla="*/ 475954 h 1070317"/>
              <a:gd name="connsiteX41" fmla="*/ 665544 w 1350570"/>
              <a:gd name="connsiteY41" fmla="*/ 513810 h 1070317"/>
              <a:gd name="connsiteX42" fmla="*/ 723140 w 1350570"/>
              <a:gd name="connsiteY42" fmla="*/ 506483 h 1070317"/>
              <a:gd name="connsiteX43" fmla="*/ 837078 w 1350570"/>
              <a:gd name="connsiteY43" fmla="*/ 539455 h 1070317"/>
              <a:gd name="connsiteX44" fmla="*/ 845842 w 1350570"/>
              <a:gd name="connsiteY44" fmla="*/ 538234 h 1070317"/>
              <a:gd name="connsiteX45" fmla="*/ 857110 w 1350570"/>
              <a:gd name="connsiteY45" fmla="*/ 524801 h 1070317"/>
              <a:gd name="connsiteX46" fmla="*/ 862118 w 1350570"/>
              <a:gd name="connsiteY46" fmla="*/ 475954 h 1070317"/>
              <a:gd name="connsiteX47" fmla="*/ 258900 w 1350570"/>
              <a:gd name="connsiteY47" fmla="*/ 475954 h 1070317"/>
              <a:gd name="connsiteX48" fmla="*/ 282352 w 1350570"/>
              <a:gd name="connsiteY48" fmla="*/ 667036 h 1070317"/>
              <a:gd name="connsiteX49" fmla="*/ 428012 w 1350570"/>
              <a:gd name="connsiteY49" fmla="*/ 652050 h 1070317"/>
              <a:gd name="connsiteX50" fmla="*/ 428012 w 1350570"/>
              <a:gd name="connsiteY50" fmla="*/ 475954 h 1070317"/>
              <a:gd name="connsiteX51" fmla="*/ 610234 w 1350570"/>
              <a:gd name="connsiteY51" fmla="*/ 256146 h 1070317"/>
              <a:gd name="connsiteX52" fmla="*/ 462220 w 1350570"/>
              <a:gd name="connsiteY52" fmla="*/ 271231 h 1070317"/>
              <a:gd name="connsiteX53" fmla="*/ 462220 w 1350570"/>
              <a:gd name="connsiteY53" fmla="*/ 447220 h 1070317"/>
              <a:gd name="connsiteX54" fmla="*/ 636800 w 1350570"/>
              <a:gd name="connsiteY54" fmla="*/ 447220 h 1070317"/>
              <a:gd name="connsiteX55" fmla="*/ 610234 w 1350570"/>
              <a:gd name="connsiteY55" fmla="*/ 256146 h 1070317"/>
              <a:gd name="connsiteX56" fmla="*/ 282352 w 1350570"/>
              <a:gd name="connsiteY56" fmla="*/ 256146 h 1070317"/>
              <a:gd name="connsiteX57" fmla="*/ 258900 w 1350570"/>
              <a:gd name="connsiteY57" fmla="*/ 447220 h 1070317"/>
              <a:gd name="connsiteX58" fmla="*/ 428012 w 1350570"/>
              <a:gd name="connsiteY58" fmla="*/ 447220 h 1070317"/>
              <a:gd name="connsiteX59" fmla="*/ 428012 w 1350570"/>
              <a:gd name="connsiteY59" fmla="*/ 271231 h 1070317"/>
              <a:gd name="connsiteX60" fmla="*/ 282352 w 1350570"/>
              <a:gd name="connsiteY60" fmla="*/ 256146 h 1070317"/>
              <a:gd name="connsiteX61" fmla="*/ 776440 w 1350570"/>
              <a:gd name="connsiteY61" fmla="*/ 201195 h 1070317"/>
              <a:gd name="connsiteX62" fmla="*/ 643562 w 1350570"/>
              <a:gd name="connsiteY62" fmla="*/ 244593 h 1070317"/>
              <a:gd name="connsiteX63" fmla="*/ 668400 w 1350570"/>
              <a:gd name="connsiteY63" fmla="*/ 441743 h 1070317"/>
              <a:gd name="connsiteX64" fmla="*/ 862128 w 1350570"/>
              <a:gd name="connsiteY64" fmla="*/ 441743 h 1070317"/>
              <a:gd name="connsiteX65" fmla="*/ 776440 w 1350570"/>
              <a:gd name="connsiteY65" fmla="*/ 201195 h 1070317"/>
              <a:gd name="connsiteX66" fmla="*/ 119282 w 1350570"/>
              <a:gd name="connsiteY66" fmla="*/ 201195 h 1070317"/>
              <a:gd name="connsiteX67" fmla="*/ 33596 w 1350570"/>
              <a:gd name="connsiteY67" fmla="*/ 441743 h 1070317"/>
              <a:gd name="connsiteX68" fmla="*/ 226082 w 1350570"/>
              <a:gd name="connsiteY68" fmla="*/ 441743 h 1070317"/>
              <a:gd name="connsiteX69" fmla="*/ 252162 w 1350570"/>
              <a:gd name="connsiteY69" fmla="*/ 244593 h 1070317"/>
              <a:gd name="connsiteX70" fmla="*/ 119282 w 1350570"/>
              <a:gd name="connsiteY70" fmla="*/ 201195 h 1070317"/>
              <a:gd name="connsiteX71" fmla="*/ 544652 w 1350570"/>
              <a:gd name="connsiteY71" fmla="*/ 47332 h 1070317"/>
              <a:gd name="connsiteX72" fmla="*/ 633614 w 1350570"/>
              <a:gd name="connsiteY72" fmla="*/ 210948 h 1070317"/>
              <a:gd name="connsiteX73" fmla="*/ 752232 w 1350570"/>
              <a:gd name="connsiteY73" fmla="*/ 173763 h 1070317"/>
              <a:gd name="connsiteX74" fmla="*/ 544652 w 1350570"/>
              <a:gd name="connsiteY74" fmla="*/ 47332 h 1070317"/>
              <a:gd name="connsiteX75" fmla="*/ 351056 w 1350570"/>
              <a:gd name="connsiteY75" fmla="*/ 47332 h 1070317"/>
              <a:gd name="connsiteX76" fmla="*/ 138006 w 1350570"/>
              <a:gd name="connsiteY76" fmla="*/ 173763 h 1070317"/>
              <a:gd name="connsiteX77" fmla="*/ 260290 w 1350570"/>
              <a:gd name="connsiteY77" fmla="*/ 210948 h 1070317"/>
              <a:gd name="connsiteX78" fmla="*/ 351056 w 1350570"/>
              <a:gd name="connsiteY78" fmla="*/ 47332 h 1070317"/>
              <a:gd name="connsiteX79" fmla="*/ 462220 w 1350570"/>
              <a:gd name="connsiteY79" fmla="*/ 36339 h 1070317"/>
              <a:gd name="connsiteX80" fmla="*/ 462220 w 1350570"/>
              <a:gd name="connsiteY80" fmla="*/ 232914 h 1070317"/>
              <a:gd name="connsiteX81" fmla="*/ 598364 w 1350570"/>
              <a:gd name="connsiteY81" fmla="*/ 219141 h 1070317"/>
              <a:gd name="connsiteX82" fmla="*/ 462220 w 1350570"/>
              <a:gd name="connsiteY82" fmla="*/ 36339 h 1070317"/>
              <a:gd name="connsiteX83" fmla="*/ 428024 w 1350570"/>
              <a:gd name="connsiteY83" fmla="*/ 36339 h 1070317"/>
              <a:gd name="connsiteX84" fmla="*/ 291872 w 1350570"/>
              <a:gd name="connsiteY84" fmla="*/ 219141 h 1070317"/>
              <a:gd name="connsiteX85" fmla="*/ 428024 w 1350570"/>
              <a:gd name="connsiteY85" fmla="*/ 232914 h 1070317"/>
              <a:gd name="connsiteX86" fmla="*/ 450190 w 1350570"/>
              <a:gd name="connsiteY86" fmla="*/ 0 h 1070317"/>
              <a:gd name="connsiteX87" fmla="*/ 900380 w 1350570"/>
              <a:gd name="connsiteY87" fmla="*/ 457996 h 1070317"/>
              <a:gd name="connsiteX88" fmla="*/ 899132 w 1350570"/>
              <a:gd name="connsiteY88" fmla="*/ 494088 h 1070317"/>
              <a:gd name="connsiteX89" fmla="*/ 1041298 w 1350570"/>
              <a:gd name="connsiteY89" fmla="*/ 460485 h 1070317"/>
              <a:gd name="connsiteX90" fmla="*/ 1223370 w 1350570"/>
              <a:gd name="connsiteY90" fmla="*/ 627255 h 1070317"/>
              <a:gd name="connsiteX91" fmla="*/ 1220876 w 1350570"/>
              <a:gd name="connsiteY91" fmla="*/ 733043 h 1070317"/>
              <a:gd name="connsiteX92" fmla="*/ 1220876 w 1350570"/>
              <a:gd name="connsiteY92" fmla="*/ 735532 h 1070317"/>
              <a:gd name="connsiteX93" fmla="*/ 1222122 w 1350570"/>
              <a:gd name="connsiteY93" fmla="*/ 735532 h 1070317"/>
              <a:gd name="connsiteX94" fmla="*/ 1350570 w 1350570"/>
              <a:gd name="connsiteY94" fmla="*/ 899813 h 1070317"/>
              <a:gd name="connsiteX95" fmla="*/ 1184710 w 1350570"/>
              <a:gd name="connsiteY95" fmla="*/ 1070317 h 1070317"/>
              <a:gd name="connsiteX96" fmla="*/ 551202 w 1350570"/>
              <a:gd name="connsiteY96" fmla="*/ 1070317 h 1070317"/>
              <a:gd name="connsiteX97" fmla="*/ 385342 w 1350570"/>
              <a:gd name="connsiteY97" fmla="*/ 911014 h 1070317"/>
              <a:gd name="connsiteX98" fmla="*/ 0 w 1350570"/>
              <a:gd name="connsiteY98" fmla="*/ 457996 h 1070317"/>
              <a:gd name="connsiteX99" fmla="*/ 450190 w 1350570"/>
              <a:gd name="connsiteY99" fmla="*/ 0 h 10703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350570" h="1070317">
                <a:moveTo>
                  <a:pt x="260290" y="706754"/>
                </a:moveTo>
                <a:cubicBezTo>
                  <a:pt x="217428" y="716670"/>
                  <a:pt x="177086" y="729066"/>
                  <a:pt x="138006" y="745179"/>
                </a:cubicBezTo>
                <a:cubicBezTo>
                  <a:pt x="194736" y="805916"/>
                  <a:pt x="267854" y="850538"/>
                  <a:pt x="351056" y="870371"/>
                </a:cubicBezTo>
                <a:cubicBezTo>
                  <a:pt x="313236" y="833185"/>
                  <a:pt x="281720" y="776167"/>
                  <a:pt x="260290" y="706754"/>
                </a:cubicBezTo>
                <a:close/>
                <a:moveTo>
                  <a:pt x="462220" y="690265"/>
                </a:moveTo>
                <a:lnTo>
                  <a:pt x="462220" y="760452"/>
                </a:lnTo>
                <a:cubicBezTo>
                  <a:pt x="474282" y="752932"/>
                  <a:pt x="486346" y="747919"/>
                  <a:pt x="499614" y="742905"/>
                </a:cubicBezTo>
                <a:cubicBezTo>
                  <a:pt x="503234" y="742905"/>
                  <a:pt x="506852" y="739145"/>
                  <a:pt x="506852" y="734132"/>
                </a:cubicBezTo>
                <a:cubicBezTo>
                  <a:pt x="506852" y="732879"/>
                  <a:pt x="506852" y="730372"/>
                  <a:pt x="506852" y="729119"/>
                </a:cubicBezTo>
                <a:cubicBezTo>
                  <a:pt x="506852" y="716585"/>
                  <a:pt x="508060" y="704052"/>
                  <a:pt x="510472" y="692772"/>
                </a:cubicBezTo>
                <a:cubicBezTo>
                  <a:pt x="493584" y="691519"/>
                  <a:pt x="477902" y="690265"/>
                  <a:pt x="462220" y="690265"/>
                </a:cubicBezTo>
                <a:close/>
                <a:moveTo>
                  <a:pt x="428024" y="690265"/>
                </a:moveTo>
                <a:cubicBezTo>
                  <a:pt x="381414" y="691512"/>
                  <a:pt x="337256" y="695254"/>
                  <a:pt x="291872" y="703984"/>
                </a:cubicBezTo>
                <a:cubicBezTo>
                  <a:pt x="315178" y="777565"/>
                  <a:pt x="348296" y="834934"/>
                  <a:pt x="385094" y="864865"/>
                </a:cubicBezTo>
                <a:cubicBezTo>
                  <a:pt x="392454" y="834934"/>
                  <a:pt x="408398" y="808744"/>
                  <a:pt x="428024" y="787542"/>
                </a:cubicBezTo>
                <a:close/>
                <a:moveTo>
                  <a:pt x="1038232" y="494405"/>
                </a:moveTo>
                <a:cubicBezTo>
                  <a:pt x="975734" y="486945"/>
                  <a:pt x="915738" y="511810"/>
                  <a:pt x="875738" y="560297"/>
                </a:cubicBezTo>
                <a:cubicBezTo>
                  <a:pt x="863240" y="576460"/>
                  <a:pt x="841990" y="580189"/>
                  <a:pt x="824490" y="567757"/>
                </a:cubicBezTo>
                <a:cubicBezTo>
                  <a:pt x="795742" y="549108"/>
                  <a:pt x="761994" y="539162"/>
                  <a:pt x="728244" y="539162"/>
                </a:cubicBezTo>
                <a:cubicBezTo>
                  <a:pt x="628250" y="539162"/>
                  <a:pt x="547002" y="621217"/>
                  <a:pt x="547002" y="723164"/>
                </a:cubicBezTo>
                <a:cubicBezTo>
                  <a:pt x="547002" y="724407"/>
                  <a:pt x="547002" y="725650"/>
                  <a:pt x="547002" y="726894"/>
                </a:cubicBezTo>
                <a:cubicBezTo>
                  <a:pt x="547002" y="746786"/>
                  <a:pt x="534504" y="764191"/>
                  <a:pt x="514504" y="770408"/>
                </a:cubicBezTo>
                <a:cubicBezTo>
                  <a:pt x="458256" y="786570"/>
                  <a:pt x="418258" y="840030"/>
                  <a:pt x="418258" y="899706"/>
                </a:cubicBezTo>
                <a:cubicBezTo>
                  <a:pt x="418258" y="974301"/>
                  <a:pt x="478256" y="1035221"/>
                  <a:pt x="550752" y="1035221"/>
                </a:cubicBezTo>
                <a:lnTo>
                  <a:pt x="1185726" y="1035221"/>
                </a:lnTo>
                <a:cubicBezTo>
                  <a:pt x="1259472" y="1035221"/>
                  <a:pt x="1318220" y="974301"/>
                  <a:pt x="1318220" y="899706"/>
                </a:cubicBezTo>
                <a:cubicBezTo>
                  <a:pt x="1318220" y="837543"/>
                  <a:pt x="1275722" y="784083"/>
                  <a:pt x="1215724" y="769164"/>
                </a:cubicBezTo>
                <a:cubicBezTo>
                  <a:pt x="1206974" y="766678"/>
                  <a:pt x="1198226" y="760461"/>
                  <a:pt x="1194476" y="751759"/>
                </a:cubicBezTo>
                <a:cubicBezTo>
                  <a:pt x="1188226" y="743056"/>
                  <a:pt x="1188226" y="733110"/>
                  <a:pt x="1189476" y="724407"/>
                </a:cubicBezTo>
                <a:cubicBezTo>
                  <a:pt x="1198226" y="694569"/>
                  <a:pt x="1198226" y="664731"/>
                  <a:pt x="1191976" y="634893"/>
                </a:cubicBezTo>
                <a:cubicBezTo>
                  <a:pt x="1175726" y="559054"/>
                  <a:pt x="1113228" y="503108"/>
                  <a:pt x="1038232" y="494405"/>
                </a:cubicBezTo>
                <a:close/>
                <a:moveTo>
                  <a:pt x="462220" y="475956"/>
                </a:moveTo>
                <a:lnTo>
                  <a:pt x="462220" y="653517"/>
                </a:lnTo>
                <a:cubicBezTo>
                  <a:pt x="481196" y="653517"/>
                  <a:pt x="501436" y="654777"/>
                  <a:pt x="520412" y="656036"/>
                </a:cubicBezTo>
                <a:cubicBezTo>
                  <a:pt x="539390" y="599368"/>
                  <a:pt x="581138" y="554033"/>
                  <a:pt x="633006" y="528847"/>
                </a:cubicBezTo>
                <a:cubicBezTo>
                  <a:pt x="634270" y="509957"/>
                  <a:pt x="635536" y="493586"/>
                  <a:pt x="636800" y="475956"/>
                </a:cubicBezTo>
                <a:close/>
                <a:moveTo>
                  <a:pt x="33596" y="475956"/>
                </a:moveTo>
                <a:cubicBezTo>
                  <a:pt x="36078" y="566472"/>
                  <a:pt x="68366" y="649548"/>
                  <a:pt x="119282" y="716504"/>
                </a:cubicBezTo>
                <a:cubicBezTo>
                  <a:pt x="160264" y="697905"/>
                  <a:pt x="204970" y="684266"/>
                  <a:pt x="252162" y="671867"/>
                </a:cubicBezTo>
                <a:cubicBezTo>
                  <a:pt x="237258" y="613589"/>
                  <a:pt x="228566" y="546633"/>
                  <a:pt x="226082" y="475956"/>
                </a:cubicBezTo>
                <a:close/>
                <a:moveTo>
                  <a:pt x="666796" y="475954"/>
                </a:moveTo>
                <a:cubicBezTo>
                  <a:pt x="666796" y="488166"/>
                  <a:pt x="665544" y="501599"/>
                  <a:pt x="665544" y="513810"/>
                </a:cubicBezTo>
                <a:cubicBezTo>
                  <a:pt x="683072" y="508926"/>
                  <a:pt x="703106" y="506483"/>
                  <a:pt x="723140" y="506483"/>
                </a:cubicBezTo>
                <a:cubicBezTo>
                  <a:pt x="763206" y="506483"/>
                  <a:pt x="803272" y="516253"/>
                  <a:pt x="837078" y="539455"/>
                </a:cubicBezTo>
                <a:cubicBezTo>
                  <a:pt x="840834" y="540676"/>
                  <a:pt x="843338" y="540676"/>
                  <a:pt x="845842" y="538234"/>
                </a:cubicBezTo>
                <a:cubicBezTo>
                  <a:pt x="849598" y="533349"/>
                  <a:pt x="853354" y="528464"/>
                  <a:pt x="857110" y="524801"/>
                </a:cubicBezTo>
                <a:cubicBezTo>
                  <a:pt x="860866" y="508926"/>
                  <a:pt x="862118" y="493051"/>
                  <a:pt x="862118" y="475954"/>
                </a:cubicBezTo>
                <a:close/>
                <a:moveTo>
                  <a:pt x="258900" y="475954"/>
                </a:moveTo>
                <a:cubicBezTo>
                  <a:pt x="258900" y="544644"/>
                  <a:pt x="267540" y="609587"/>
                  <a:pt x="282352" y="667036"/>
                </a:cubicBezTo>
                <a:cubicBezTo>
                  <a:pt x="330494" y="658294"/>
                  <a:pt x="378636" y="652050"/>
                  <a:pt x="428012" y="652050"/>
                </a:cubicBezTo>
                <a:lnTo>
                  <a:pt x="428012" y="475954"/>
                </a:lnTo>
                <a:close/>
                <a:moveTo>
                  <a:pt x="610234" y="256146"/>
                </a:moveTo>
                <a:cubicBezTo>
                  <a:pt x="562160" y="264945"/>
                  <a:pt x="512822" y="269973"/>
                  <a:pt x="462220" y="271231"/>
                </a:cubicBezTo>
                <a:lnTo>
                  <a:pt x="462220" y="447220"/>
                </a:lnTo>
                <a:lnTo>
                  <a:pt x="636800" y="447220"/>
                </a:lnTo>
                <a:cubicBezTo>
                  <a:pt x="634270" y="378081"/>
                  <a:pt x="625416" y="312714"/>
                  <a:pt x="610234" y="256146"/>
                </a:cubicBezTo>
                <a:close/>
                <a:moveTo>
                  <a:pt x="282352" y="256146"/>
                </a:moveTo>
                <a:cubicBezTo>
                  <a:pt x="267540" y="312714"/>
                  <a:pt x="258900" y="378081"/>
                  <a:pt x="258900" y="447220"/>
                </a:cubicBezTo>
                <a:lnTo>
                  <a:pt x="428012" y="447220"/>
                </a:lnTo>
                <a:lnTo>
                  <a:pt x="428012" y="271231"/>
                </a:lnTo>
                <a:cubicBezTo>
                  <a:pt x="378636" y="269973"/>
                  <a:pt x="330494" y="264945"/>
                  <a:pt x="282352" y="256146"/>
                </a:cubicBezTo>
                <a:close/>
                <a:moveTo>
                  <a:pt x="776440" y="201195"/>
                </a:moveTo>
                <a:cubicBezTo>
                  <a:pt x="734218" y="219794"/>
                  <a:pt x="690752" y="234673"/>
                  <a:pt x="643562" y="244593"/>
                </a:cubicBezTo>
                <a:cubicBezTo>
                  <a:pt x="658464" y="304110"/>
                  <a:pt x="667158" y="371066"/>
                  <a:pt x="668400" y="441743"/>
                </a:cubicBezTo>
                <a:lnTo>
                  <a:pt x="862128" y="441743"/>
                </a:lnTo>
                <a:cubicBezTo>
                  <a:pt x="858402" y="352467"/>
                  <a:pt x="827356" y="268151"/>
                  <a:pt x="776440" y="201195"/>
                </a:cubicBezTo>
                <a:close/>
                <a:moveTo>
                  <a:pt x="119282" y="201195"/>
                </a:moveTo>
                <a:cubicBezTo>
                  <a:pt x="68366" y="268151"/>
                  <a:pt x="36078" y="352467"/>
                  <a:pt x="33596" y="441743"/>
                </a:cubicBezTo>
                <a:lnTo>
                  <a:pt x="226082" y="441743"/>
                </a:lnTo>
                <a:cubicBezTo>
                  <a:pt x="228566" y="371066"/>
                  <a:pt x="237258" y="304110"/>
                  <a:pt x="252162" y="244593"/>
                </a:cubicBezTo>
                <a:cubicBezTo>
                  <a:pt x="204970" y="234673"/>
                  <a:pt x="160264" y="219794"/>
                  <a:pt x="119282" y="201195"/>
                </a:cubicBezTo>
                <a:close/>
                <a:moveTo>
                  <a:pt x="544652" y="47332"/>
                </a:moveTo>
                <a:cubicBezTo>
                  <a:pt x="581718" y="83278"/>
                  <a:pt x="612608" y="140296"/>
                  <a:pt x="633614" y="210948"/>
                </a:cubicBezTo>
                <a:cubicBezTo>
                  <a:pt x="674388" y="202272"/>
                  <a:pt x="715164" y="188637"/>
                  <a:pt x="752232" y="173763"/>
                </a:cubicBezTo>
                <a:cubicBezTo>
                  <a:pt x="697866" y="111787"/>
                  <a:pt x="626200" y="67164"/>
                  <a:pt x="544652" y="47332"/>
                </a:cubicBezTo>
                <a:close/>
                <a:moveTo>
                  <a:pt x="351056" y="47332"/>
                </a:moveTo>
                <a:cubicBezTo>
                  <a:pt x="267854" y="67164"/>
                  <a:pt x="194736" y="111787"/>
                  <a:pt x="138006" y="173763"/>
                </a:cubicBezTo>
                <a:cubicBezTo>
                  <a:pt x="177086" y="188637"/>
                  <a:pt x="217428" y="202272"/>
                  <a:pt x="260290" y="210948"/>
                </a:cubicBezTo>
                <a:cubicBezTo>
                  <a:pt x="281720" y="140296"/>
                  <a:pt x="313236" y="83278"/>
                  <a:pt x="351056" y="47332"/>
                </a:cubicBezTo>
                <a:close/>
                <a:moveTo>
                  <a:pt x="462220" y="36339"/>
                </a:moveTo>
                <a:lnTo>
                  <a:pt x="462220" y="232914"/>
                </a:lnTo>
                <a:cubicBezTo>
                  <a:pt x="508014" y="231662"/>
                  <a:pt x="553808" y="227905"/>
                  <a:pt x="598364" y="219141"/>
                </a:cubicBezTo>
                <a:cubicBezTo>
                  <a:pt x="567422" y="117723"/>
                  <a:pt x="516678" y="47607"/>
                  <a:pt x="462220" y="36339"/>
                </a:cubicBezTo>
                <a:close/>
                <a:moveTo>
                  <a:pt x="428024" y="36339"/>
                </a:moveTo>
                <a:cubicBezTo>
                  <a:pt x="372828" y="47607"/>
                  <a:pt x="323764" y="117723"/>
                  <a:pt x="291872" y="219141"/>
                </a:cubicBezTo>
                <a:cubicBezTo>
                  <a:pt x="337256" y="227905"/>
                  <a:pt x="381414" y="231662"/>
                  <a:pt x="428024" y="232914"/>
                </a:cubicBezTo>
                <a:close/>
                <a:moveTo>
                  <a:pt x="450190" y="0"/>
                </a:moveTo>
                <a:cubicBezTo>
                  <a:pt x="698356" y="0"/>
                  <a:pt x="900380" y="205352"/>
                  <a:pt x="900380" y="457996"/>
                </a:cubicBezTo>
                <a:cubicBezTo>
                  <a:pt x="900380" y="470442"/>
                  <a:pt x="900380" y="481643"/>
                  <a:pt x="899132" y="494088"/>
                </a:cubicBezTo>
                <a:cubicBezTo>
                  <a:pt x="940286" y="466708"/>
                  <a:pt x="991416" y="454262"/>
                  <a:pt x="1041298" y="460485"/>
                </a:cubicBezTo>
                <a:cubicBezTo>
                  <a:pt x="1129840" y="470442"/>
                  <a:pt x="1203416" y="537648"/>
                  <a:pt x="1223370" y="627255"/>
                </a:cubicBezTo>
                <a:cubicBezTo>
                  <a:pt x="1232098" y="662103"/>
                  <a:pt x="1230852" y="698195"/>
                  <a:pt x="1220876" y="733043"/>
                </a:cubicBezTo>
                <a:cubicBezTo>
                  <a:pt x="1220876" y="734287"/>
                  <a:pt x="1220876" y="734287"/>
                  <a:pt x="1220876" y="735532"/>
                </a:cubicBezTo>
                <a:cubicBezTo>
                  <a:pt x="1222122" y="735532"/>
                  <a:pt x="1222122" y="735532"/>
                  <a:pt x="1222122" y="735532"/>
                </a:cubicBezTo>
                <a:cubicBezTo>
                  <a:pt x="1298194" y="754200"/>
                  <a:pt x="1350570" y="821406"/>
                  <a:pt x="1350570" y="899813"/>
                </a:cubicBezTo>
                <a:cubicBezTo>
                  <a:pt x="1350570" y="993154"/>
                  <a:pt x="1275746" y="1070317"/>
                  <a:pt x="1184710" y="1070317"/>
                </a:cubicBezTo>
                <a:lnTo>
                  <a:pt x="551202" y="1070317"/>
                </a:lnTo>
                <a:cubicBezTo>
                  <a:pt x="463908" y="1070317"/>
                  <a:pt x="391578" y="999377"/>
                  <a:pt x="385342" y="911014"/>
                </a:cubicBezTo>
                <a:cubicBezTo>
                  <a:pt x="168354" y="879900"/>
                  <a:pt x="0" y="688239"/>
                  <a:pt x="0" y="457996"/>
                </a:cubicBezTo>
                <a:cubicBezTo>
                  <a:pt x="0" y="205352"/>
                  <a:pt x="202024" y="0"/>
                  <a:pt x="450190" y="0"/>
                </a:cubicBezTo>
                <a:close/>
              </a:path>
            </a:pathLst>
          </a:custGeom>
          <a:solidFill>
            <a:srgbClr val="FFFFFF"/>
          </a:solidFill>
          <a:ln>
            <a:noFill/>
          </a:ln>
          <a:effectLst/>
        </p:spPr>
        <p:txBody>
          <a:bodyPr wrap="square" anchor="ctr">
            <a:noAutofit/>
          </a:bodyPr>
          <a:lstStyle/>
          <a:p>
            <a:endParaRPr lang="en-US" sz="6532" dirty="0">
              <a:latin typeface="Poppins" pitchFamily="2" charset="77"/>
            </a:endParaRPr>
          </a:p>
        </p:txBody>
      </p:sp>
      <p:sp>
        <p:nvSpPr>
          <p:cNvPr id="35" name="Freeform 928">
            <a:extLst>
              <a:ext uri="{FF2B5EF4-FFF2-40B4-BE49-F238E27FC236}">
                <a16:creationId xmlns:a16="http://schemas.microsoft.com/office/drawing/2014/main" id="{4B75443E-0823-22B2-0344-62C4D22DC35F}"/>
              </a:ext>
            </a:extLst>
          </p:cNvPr>
          <p:cNvSpPr>
            <a:spLocks noChangeArrowheads="1"/>
          </p:cNvSpPr>
          <p:nvPr/>
        </p:nvSpPr>
        <p:spPr bwMode="auto">
          <a:xfrm>
            <a:off x="9969736" y="2873422"/>
            <a:ext cx="1342454" cy="1342454"/>
          </a:xfrm>
          <a:custGeom>
            <a:avLst/>
            <a:gdLst>
              <a:gd name="T0" fmla="*/ 2652783 w 296503"/>
              <a:gd name="T1" fmla="*/ 3144734 h 296502"/>
              <a:gd name="T2" fmla="*/ 255275 w 296503"/>
              <a:gd name="T3" fmla="*/ 1715088 h 296502"/>
              <a:gd name="T4" fmla="*/ 330227 w 296503"/>
              <a:gd name="T5" fmla="*/ 1784468 h 296502"/>
              <a:gd name="T6" fmla="*/ 242802 w 296503"/>
              <a:gd name="T7" fmla="*/ 1749775 h 296502"/>
              <a:gd name="T8" fmla="*/ 342694 w 296503"/>
              <a:gd name="T9" fmla="*/ 1227390 h 296502"/>
              <a:gd name="T10" fmla="*/ 292772 w 296503"/>
              <a:gd name="T11" fmla="*/ 1179373 h 296502"/>
              <a:gd name="T12" fmla="*/ 1688499 w 296503"/>
              <a:gd name="T13" fmla="*/ 2289596 h 296502"/>
              <a:gd name="T14" fmla="*/ 1342148 w 296503"/>
              <a:gd name="T15" fmla="*/ 2309302 h 296502"/>
              <a:gd name="T16" fmla="*/ 1294897 w 296503"/>
              <a:gd name="T17" fmla="*/ 2529985 h 296502"/>
              <a:gd name="T18" fmla="*/ 1920713 w 296503"/>
              <a:gd name="T19" fmla="*/ 2880715 h 296502"/>
              <a:gd name="T20" fmla="*/ 2538651 w 296503"/>
              <a:gd name="T21" fmla="*/ 1828537 h 296502"/>
              <a:gd name="T22" fmla="*/ 2412686 w 296503"/>
              <a:gd name="T23" fmla="*/ 1812770 h 296502"/>
              <a:gd name="T24" fmla="*/ 2184411 w 296503"/>
              <a:gd name="T25" fmla="*/ 1765466 h 296502"/>
              <a:gd name="T26" fmla="*/ 1916779 w 296503"/>
              <a:gd name="T27" fmla="*/ 1761537 h 296502"/>
              <a:gd name="T28" fmla="*/ 1786901 w 296503"/>
              <a:gd name="T29" fmla="*/ 1079774 h 296502"/>
              <a:gd name="T30" fmla="*/ 2996363 w 296503"/>
              <a:gd name="T31" fmla="*/ 1458082 h 296502"/>
              <a:gd name="T32" fmla="*/ 2896304 w 296503"/>
              <a:gd name="T33" fmla="*/ 1000817 h 296502"/>
              <a:gd name="T34" fmla="*/ 330227 w 296503"/>
              <a:gd name="T35" fmla="*/ 678341 h 296502"/>
              <a:gd name="T36" fmla="*/ 292772 w 296503"/>
              <a:gd name="T37" fmla="*/ 759273 h 296502"/>
              <a:gd name="T38" fmla="*/ 255275 w 296503"/>
              <a:gd name="T39" fmla="*/ 678341 h 296502"/>
              <a:gd name="T40" fmla="*/ 2320052 w 296503"/>
              <a:gd name="T41" fmla="*/ 847667 h 296502"/>
              <a:gd name="T42" fmla="*/ 2221957 w 296503"/>
              <a:gd name="T43" fmla="*/ 1487294 h 296502"/>
              <a:gd name="T44" fmla="*/ 1229199 w 296503"/>
              <a:gd name="T45" fmla="*/ 635766 h 296502"/>
              <a:gd name="T46" fmla="*/ 1229199 w 296503"/>
              <a:gd name="T47" fmla="*/ 1840460 h 296502"/>
              <a:gd name="T48" fmla="*/ 1445011 w 296503"/>
              <a:gd name="T49" fmla="*/ 1938568 h 296502"/>
              <a:gd name="T50" fmla="*/ 919190 w 296503"/>
              <a:gd name="T51" fmla="*/ 847667 h 296502"/>
              <a:gd name="T52" fmla="*/ 590384 w 296503"/>
              <a:gd name="T53" fmla="*/ 2356600 h 296502"/>
              <a:gd name="T54" fmla="*/ 1590103 w 296503"/>
              <a:gd name="T55" fmla="*/ 2226535 h 296502"/>
              <a:gd name="T56" fmla="*/ 1979754 w 296503"/>
              <a:gd name="T57" fmla="*/ 1150713 h 296502"/>
              <a:gd name="T58" fmla="*/ 2302493 w 296503"/>
              <a:gd name="T59" fmla="*/ 1623605 h 296502"/>
              <a:gd name="T60" fmla="*/ 2747245 w 296503"/>
              <a:gd name="T61" fmla="*/ 1923108 h 296502"/>
              <a:gd name="T62" fmla="*/ 2944039 w 296503"/>
              <a:gd name="T63" fmla="*/ 2356600 h 296502"/>
              <a:gd name="T64" fmla="*/ 2944039 w 296503"/>
              <a:gd name="T65" fmla="*/ 98520 h 296502"/>
              <a:gd name="T66" fmla="*/ 2700021 w 296503"/>
              <a:gd name="T67" fmla="*/ 1670885 h 296502"/>
              <a:gd name="T68" fmla="*/ 590384 w 296503"/>
              <a:gd name="T69" fmla="*/ 98520 h 296502"/>
              <a:gd name="T70" fmla="*/ 98402 w 296503"/>
              <a:gd name="T71" fmla="*/ 2159554 h 296502"/>
              <a:gd name="T72" fmla="*/ 491997 w 296503"/>
              <a:gd name="T73" fmla="*/ 98520 h 296502"/>
              <a:gd name="T74" fmla="*/ 2944039 w 296503"/>
              <a:gd name="T75" fmla="*/ 0 h 296502"/>
              <a:gd name="T76" fmla="*/ 2944039 w 296503"/>
              <a:gd name="T77" fmla="*/ 2455117 h 296502"/>
              <a:gd name="T78" fmla="*/ 2700021 w 296503"/>
              <a:gd name="T79" fmla="*/ 3239316 h 296502"/>
              <a:gd name="T80" fmla="*/ 1869556 w 296503"/>
              <a:gd name="T81" fmla="*/ 2971357 h 296502"/>
              <a:gd name="T82" fmla="*/ 1054823 w 296503"/>
              <a:gd name="T83" fmla="*/ 2656076 h 296502"/>
              <a:gd name="T84" fmla="*/ 980035 w 296503"/>
              <a:gd name="T85" fmla="*/ 2455117 h 296502"/>
              <a:gd name="T86" fmla="*/ 0 w 296503"/>
              <a:gd name="T87" fmla="*/ 295553 h 296502"/>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296503" h="296502">
                <a:moveTo>
                  <a:pt x="180496" y="272696"/>
                </a:moveTo>
                <a:lnTo>
                  <a:pt x="180496" y="287845"/>
                </a:lnTo>
                <a:lnTo>
                  <a:pt x="242822" y="287845"/>
                </a:lnTo>
                <a:lnTo>
                  <a:pt x="242822" y="272696"/>
                </a:lnTo>
                <a:lnTo>
                  <a:pt x="180496" y="272696"/>
                </a:lnTo>
                <a:close/>
                <a:moveTo>
                  <a:pt x="23368" y="156986"/>
                </a:moveTo>
                <a:cubicBezTo>
                  <a:pt x="25273" y="155575"/>
                  <a:pt x="28321" y="155575"/>
                  <a:pt x="30226" y="156986"/>
                </a:cubicBezTo>
                <a:cubicBezTo>
                  <a:pt x="30988" y="158044"/>
                  <a:pt x="31369" y="159103"/>
                  <a:pt x="31369" y="160161"/>
                </a:cubicBezTo>
                <a:cubicBezTo>
                  <a:pt x="31369" y="161572"/>
                  <a:pt x="30988" y="162631"/>
                  <a:pt x="30226" y="163336"/>
                </a:cubicBezTo>
                <a:cubicBezTo>
                  <a:pt x="29083" y="164042"/>
                  <a:pt x="27940" y="164747"/>
                  <a:pt x="26797" y="164747"/>
                </a:cubicBezTo>
                <a:cubicBezTo>
                  <a:pt x="25654" y="164747"/>
                  <a:pt x="24130" y="164042"/>
                  <a:pt x="23368" y="163336"/>
                </a:cubicBezTo>
                <a:cubicBezTo>
                  <a:pt x="22606" y="162631"/>
                  <a:pt x="22225" y="161572"/>
                  <a:pt x="22225" y="160161"/>
                </a:cubicBezTo>
                <a:cubicBezTo>
                  <a:pt x="22225" y="159103"/>
                  <a:pt x="22606" y="158044"/>
                  <a:pt x="23368" y="156986"/>
                </a:cubicBezTo>
                <a:close/>
                <a:moveTo>
                  <a:pt x="26797" y="107950"/>
                </a:moveTo>
                <a:cubicBezTo>
                  <a:pt x="29464" y="107950"/>
                  <a:pt x="31369" y="109782"/>
                  <a:pt x="31369" y="112346"/>
                </a:cubicBezTo>
                <a:cubicBezTo>
                  <a:pt x="31369" y="115277"/>
                  <a:pt x="29464" y="117109"/>
                  <a:pt x="26797" y="117109"/>
                </a:cubicBezTo>
                <a:cubicBezTo>
                  <a:pt x="24130" y="117109"/>
                  <a:pt x="22225" y="115277"/>
                  <a:pt x="22225" y="112346"/>
                </a:cubicBezTo>
                <a:cubicBezTo>
                  <a:pt x="22225" y="109782"/>
                  <a:pt x="24130" y="107950"/>
                  <a:pt x="26797" y="107950"/>
                </a:cubicBezTo>
                <a:close/>
                <a:moveTo>
                  <a:pt x="163563" y="98834"/>
                </a:moveTo>
                <a:cubicBezTo>
                  <a:pt x="158880" y="98834"/>
                  <a:pt x="154556" y="101720"/>
                  <a:pt x="154556" y="105327"/>
                </a:cubicBezTo>
                <a:lnTo>
                  <a:pt x="154556" y="209572"/>
                </a:lnTo>
                <a:cubicBezTo>
                  <a:pt x="154556" y="211014"/>
                  <a:pt x="153836" y="212457"/>
                  <a:pt x="152755" y="213179"/>
                </a:cubicBezTo>
                <a:cubicBezTo>
                  <a:pt x="152034" y="213900"/>
                  <a:pt x="150233" y="214261"/>
                  <a:pt x="148792" y="213900"/>
                </a:cubicBezTo>
                <a:cubicBezTo>
                  <a:pt x="145189" y="212818"/>
                  <a:pt x="134741" y="210654"/>
                  <a:pt x="122853" y="211375"/>
                </a:cubicBezTo>
                <a:cubicBezTo>
                  <a:pt x="109162" y="212818"/>
                  <a:pt x="99075" y="218950"/>
                  <a:pt x="98354" y="226164"/>
                </a:cubicBezTo>
                <a:cubicBezTo>
                  <a:pt x="98354" y="229411"/>
                  <a:pt x="98714" y="231936"/>
                  <a:pt x="99075" y="233378"/>
                </a:cubicBezTo>
                <a:cubicBezTo>
                  <a:pt x="103758" y="232657"/>
                  <a:pt x="112044" y="231575"/>
                  <a:pt x="118529" y="231575"/>
                </a:cubicBezTo>
                <a:cubicBezTo>
                  <a:pt x="121772" y="231575"/>
                  <a:pt x="124654" y="231575"/>
                  <a:pt x="126816" y="232296"/>
                </a:cubicBezTo>
                <a:cubicBezTo>
                  <a:pt x="138344" y="236264"/>
                  <a:pt x="148792" y="244560"/>
                  <a:pt x="158519" y="252496"/>
                </a:cubicBezTo>
                <a:cubicBezTo>
                  <a:pt x="165004" y="257907"/>
                  <a:pt x="172570" y="263678"/>
                  <a:pt x="175812" y="263678"/>
                </a:cubicBezTo>
                <a:lnTo>
                  <a:pt x="242822" y="263678"/>
                </a:lnTo>
                <a:lnTo>
                  <a:pt x="242822" y="177108"/>
                </a:lnTo>
                <a:cubicBezTo>
                  <a:pt x="242102" y="171337"/>
                  <a:pt x="237418" y="167369"/>
                  <a:pt x="232375" y="167369"/>
                </a:cubicBezTo>
                <a:cubicBezTo>
                  <a:pt x="230573" y="167369"/>
                  <a:pt x="228772" y="167729"/>
                  <a:pt x="227331" y="168812"/>
                </a:cubicBezTo>
                <a:cubicBezTo>
                  <a:pt x="226250" y="169533"/>
                  <a:pt x="224809" y="169533"/>
                  <a:pt x="223368" y="168812"/>
                </a:cubicBezTo>
                <a:cubicBezTo>
                  <a:pt x="221927" y="168090"/>
                  <a:pt x="221206" y="167008"/>
                  <a:pt x="220846" y="165926"/>
                </a:cubicBezTo>
                <a:cubicBezTo>
                  <a:pt x="219765" y="160876"/>
                  <a:pt x="215442" y="157269"/>
                  <a:pt x="210758" y="157269"/>
                </a:cubicBezTo>
                <a:cubicBezTo>
                  <a:pt x="208236" y="157269"/>
                  <a:pt x="205715" y="158712"/>
                  <a:pt x="203553" y="160515"/>
                </a:cubicBezTo>
                <a:cubicBezTo>
                  <a:pt x="202832" y="161237"/>
                  <a:pt x="201391" y="161597"/>
                  <a:pt x="199950" y="161597"/>
                </a:cubicBezTo>
                <a:cubicBezTo>
                  <a:pt x="198869" y="161597"/>
                  <a:pt x="197789" y="160876"/>
                  <a:pt x="197068" y="159794"/>
                </a:cubicBezTo>
                <a:cubicBezTo>
                  <a:pt x="193105" y="154383"/>
                  <a:pt x="184459" y="154383"/>
                  <a:pt x="180496" y="159794"/>
                </a:cubicBezTo>
                <a:cubicBezTo>
                  <a:pt x="179415" y="161237"/>
                  <a:pt x="177253" y="161958"/>
                  <a:pt x="175452" y="161237"/>
                </a:cubicBezTo>
                <a:cubicBezTo>
                  <a:pt x="173651" y="160515"/>
                  <a:pt x="172570" y="159072"/>
                  <a:pt x="172570" y="156908"/>
                </a:cubicBezTo>
                <a:lnTo>
                  <a:pt x="172570" y="105327"/>
                </a:lnTo>
                <a:cubicBezTo>
                  <a:pt x="172570" y="101720"/>
                  <a:pt x="168247" y="98834"/>
                  <a:pt x="163563" y="98834"/>
                </a:cubicBezTo>
                <a:close/>
                <a:moveTo>
                  <a:pt x="269509" y="87313"/>
                </a:moveTo>
                <a:cubicBezTo>
                  <a:pt x="272074" y="87313"/>
                  <a:pt x="274272" y="89102"/>
                  <a:pt x="274272" y="91606"/>
                </a:cubicBezTo>
                <a:lnTo>
                  <a:pt x="274272" y="133462"/>
                </a:lnTo>
                <a:cubicBezTo>
                  <a:pt x="274272" y="135967"/>
                  <a:pt x="272074" y="137755"/>
                  <a:pt x="269509" y="137755"/>
                </a:cubicBezTo>
                <a:cubicBezTo>
                  <a:pt x="267311" y="137755"/>
                  <a:pt x="265113" y="135967"/>
                  <a:pt x="265113" y="133462"/>
                </a:cubicBezTo>
                <a:lnTo>
                  <a:pt x="265113" y="91606"/>
                </a:lnTo>
                <a:cubicBezTo>
                  <a:pt x="265113" y="89102"/>
                  <a:pt x="267311" y="87313"/>
                  <a:pt x="269509" y="87313"/>
                </a:cubicBezTo>
                <a:close/>
                <a:moveTo>
                  <a:pt x="23368" y="62089"/>
                </a:moveTo>
                <a:cubicBezTo>
                  <a:pt x="25273" y="60325"/>
                  <a:pt x="28321" y="60325"/>
                  <a:pt x="30226" y="62089"/>
                </a:cubicBezTo>
                <a:cubicBezTo>
                  <a:pt x="30988" y="62794"/>
                  <a:pt x="31369" y="63853"/>
                  <a:pt x="31369" y="65264"/>
                </a:cubicBezTo>
                <a:cubicBezTo>
                  <a:pt x="31369" y="66322"/>
                  <a:pt x="30988" y="67381"/>
                  <a:pt x="30226" y="68439"/>
                </a:cubicBezTo>
                <a:cubicBezTo>
                  <a:pt x="29083" y="68792"/>
                  <a:pt x="27940" y="69497"/>
                  <a:pt x="26797" y="69497"/>
                </a:cubicBezTo>
                <a:cubicBezTo>
                  <a:pt x="25273" y="69497"/>
                  <a:pt x="24130" y="68792"/>
                  <a:pt x="23368" y="68439"/>
                </a:cubicBezTo>
                <a:cubicBezTo>
                  <a:pt x="22606" y="67381"/>
                  <a:pt x="22225" y="66322"/>
                  <a:pt x="22225" y="65264"/>
                </a:cubicBezTo>
                <a:cubicBezTo>
                  <a:pt x="22225" y="63853"/>
                  <a:pt x="22606" y="62794"/>
                  <a:pt x="23368" y="62089"/>
                </a:cubicBezTo>
                <a:close/>
                <a:moveTo>
                  <a:pt x="112514" y="49213"/>
                </a:moveTo>
                <a:lnTo>
                  <a:pt x="183990" y="49213"/>
                </a:lnTo>
                <a:cubicBezTo>
                  <a:pt x="199794" y="49213"/>
                  <a:pt x="212366" y="61784"/>
                  <a:pt x="212366" y="77588"/>
                </a:cubicBezTo>
                <a:lnTo>
                  <a:pt x="212366" y="136135"/>
                </a:lnTo>
                <a:cubicBezTo>
                  <a:pt x="212366" y="138649"/>
                  <a:pt x="210570" y="140445"/>
                  <a:pt x="208056" y="140445"/>
                </a:cubicBezTo>
                <a:cubicBezTo>
                  <a:pt x="205541" y="140445"/>
                  <a:pt x="203386" y="138649"/>
                  <a:pt x="203386" y="136135"/>
                </a:cubicBezTo>
                <a:lnTo>
                  <a:pt x="203386" y="77588"/>
                </a:lnTo>
                <a:cubicBezTo>
                  <a:pt x="203386" y="66813"/>
                  <a:pt x="194766" y="58193"/>
                  <a:pt x="183990" y="58193"/>
                </a:cubicBezTo>
                <a:lnTo>
                  <a:pt x="112514" y="58193"/>
                </a:lnTo>
                <a:cubicBezTo>
                  <a:pt x="101738" y="58193"/>
                  <a:pt x="93118" y="66813"/>
                  <a:pt x="93118" y="77588"/>
                </a:cubicBezTo>
                <a:lnTo>
                  <a:pt x="93118" y="149065"/>
                </a:lnTo>
                <a:cubicBezTo>
                  <a:pt x="93118" y="159841"/>
                  <a:pt x="101738" y="168461"/>
                  <a:pt x="112514" y="168461"/>
                </a:cubicBezTo>
                <a:lnTo>
                  <a:pt x="132269" y="168461"/>
                </a:lnTo>
                <a:cubicBezTo>
                  <a:pt x="134783" y="168461"/>
                  <a:pt x="136579" y="170616"/>
                  <a:pt x="136579" y="173131"/>
                </a:cubicBezTo>
                <a:cubicBezTo>
                  <a:pt x="136579" y="175645"/>
                  <a:pt x="134783" y="177441"/>
                  <a:pt x="132269" y="177441"/>
                </a:cubicBezTo>
                <a:lnTo>
                  <a:pt x="112514" y="177441"/>
                </a:lnTo>
                <a:cubicBezTo>
                  <a:pt x="96710" y="177441"/>
                  <a:pt x="84138" y="164869"/>
                  <a:pt x="84138" y="149065"/>
                </a:cubicBezTo>
                <a:lnTo>
                  <a:pt x="84138" y="77588"/>
                </a:lnTo>
                <a:cubicBezTo>
                  <a:pt x="84138" y="61784"/>
                  <a:pt x="96710" y="49213"/>
                  <a:pt x="112514" y="49213"/>
                </a:cubicBezTo>
                <a:close/>
                <a:moveTo>
                  <a:pt x="54040" y="9018"/>
                </a:moveTo>
                <a:lnTo>
                  <a:pt x="54040" y="215704"/>
                </a:lnTo>
                <a:lnTo>
                  <a:pt x="93310" y="215704"/>
                </a:lnTo>
                <a:cubicBezTo>
                  <a:pt x="98354" y="208850"/>
                  <a:pt x="108802" y="203800"/>
                  <a:pt x="122132" y="202718"/>
                </a:cubicBezTo>
                <a:cubicBezTo>
                  <a:pt x="131499" y="201636"/>
                  <a:pt x="139785" y="202718"/>
                  <a:pt x="145550" y="203800"/>
                </a:cubicBezTo>
                <a:lnTo>
                  <a:pt x="145550" y="105327"/>
                </a:lnTo>
                <a:cubicBezTo>
                  <a:pt x="145550" y="97031"/>
                  <a:pt x="153836" y="89816"/>
                  <a:pt x="163563" y="89816"/>
                </a:cubicBezTo>
                <a:cubicBezTo>
                  <a:pt x="173290" y="89816"/>
                  <a:pt x="181216" y="97031"/>
                  <a:pt x="181216" y="105327"/>
                </a:cubicBezTo>
                <a:lnTo>
                  <a:pt x="181216" y="147890"/>
                </a:lnTo>
                <a:cubicBezTo>
                  <a:pt x="187701" y="145366"/>
                  <a:pt x="195627" y="146808"/>
                  <a:pt x="201031" y="151137"/>
                </a:cubicBezTo>
                <a:cubicBezTo>
                  <a:pt x="203913" y="149333"/>
                  <a:pt x="207156" y="148612"/>
                  <a:pt x="210758" y="148612"/>
                </a:cubicBezTo>
                <a:cubicBezTo>
                  <a:pt x="217964" y="148612"/>
                  <a:pt x="224449" y="152940"/>
                  <a:pt x="227691" y="159072"/>
                </a:cubicBezTo>
                <a:cubicBezTo>
                  <a:pt x="229132" y="158712"/>
                  <a:pt x="230933" y="158351"/>
                  <a:pt x="232375" y="158351"/>
                </a:cubicBezTo>
                <a:cubicBezTo>
                  <a:pt x="242102" y="158351"/>
                  <a:pt x="250388" y="165926"/>
                  <a:pt x="251469" y="176026"/>
                </a:cubicBezTo>
                <a:cubicBezTo>
                  <a:pt x="251469" y="176026"/>
                  <a:pt x="251469" y="176747"/>
                  <a:pt x="251469" y="177108"/>
                </a:cubicBezTo>
                <a:lnTo>
                  <a:pt x="251469" y="215704"/>
                </a:lnTo>
                <a:lnTo>
                  <a:pt x="269482" y="215704"/>
                </a:lnTo>
                <a:cubicBezTo>
                  <a:pt x="279570" y="215704"/>
                  <a:pt x="287496" y="207768"/>
                  <a:pt x="287496" y="197668"/>
                </a:cubicBezTo>
                <a:lnTo>
                  <a:pt x="287496" y="27053"/>
                </a:lnTo>
                <a:cubicBezTo>
                  <a:pt x="287496" y="16953"/>
                  <a:pt x="279570" y="9018"/>
                  <a:pt x="269482" y="9018"/>
                </a:cubicBezTo>
                <a:lnTo>
                  <a:pt x="251469" y="9018"/>
                </a:lnTo>
                <a:lnTo>
                  <a:pt x="251469" y="148251"/>
                </a:lnTo>
                <a:cubicBezTo>
                  <a:pt x="251469" y="150776"/>
                  <a:pt x="249668" y="152940"/>
                  <a:pt x="247146" y="152940"/>
                </a:cubicBezTo>
                <a:cubicBezTo>
                  <a:pt x="244624" y="152940"/>
                  <a:pt x="242822" y="150776"/>
                  <a:pt x="242822" y="148251"/>
                </a:cubicBezTo>
                <a:lnTo>
                  <a:pt x="242822" y="9018"/>
                </a:lnTo>
                <a:lnTo>
                  <a:pt x="54040" y="9018"/>
                </a:lnTo>
                <a:close/>
                <a:moveTo>
                  <a:pt x="27020" y="9018"/>
                </a:moveTo>
                <a:cubicBezTo>
                  <a:pt x="16932" y="9018"/>
                  <a:pt x="9007" y="16953"/>
                  <a:pt x="9007" y="27053"/>
                </a:cubicBezTo>
                <a:lnTo>
                  <a:pt x="9007" y="197668"/>
                </a:lnTo>
                <a:cubicBezTo>
                  <a:pt x="9007" y="207768"/>
                  <a:pt x="16932" y="215704"/>
                  <a:pt x="27020" y="215704"/>
                </a:cubicBezTo>
                <a:lnTo>
                  <a:pt x="45034" y="215704"/>
                </a:lnTo>
                <a:lnTo>
                  <a:pt x="45034" y="9018"/>
                </a:lnTo>
                <a:lnTo>
                  <a:pt x="27020" y="9018"/>
                </a:lnTo>
                <a:close/>
                <a:moveTo>
                  <a:pt x="27020" y="0"/>
                </a:moveTo>
                <a:lnTo>
                  <a:pt x="269482" y="0"/>
                </a:lnTo>
                <a:cubicBezTo>
                  <a:pt x="284614" y="0"/>
                  <a:pt x="296503" y="11903"/>
                  <a:pt x="296503" y="27053"/>
                </a:cubicBezTo>
                <a:lnTo>
                  <a:pt x="296503" y="197668"/>
                </a:lnTo>
                <a:cubicBezTo>
                  <a:pt x="296503" y="212457"/>
                  <a:pt x="284614" y="224721"/>
                  <a:pt x="269482" y="224721"/>
                </a:cubicBezTo>
                <a:lnTo>
                  <a:pt x="251469" y="224721"/>
                </a:lnTo>
                <a:lnTo>
                  <a:pt x="251469" y="292174"/>
                </a:lnTo>
                <a:cubicBezTo>
                  <a:pt x="251469" y="294699"/>
                  <a:pt x="249668" y="296502"/>
                  <a:pt x="247146" y="296502"/>
                </a:cubicBezTo>
                <a:lnTo>
                  <a:pt x="175812" y="296502"/>
                </a:lnTo>
                <a:cubicBezTo>
                  <a:pt x="173290" y="296502"/>
                  <a:pt x="171129" y="294699"/>
                  <a:pt x="171129" y="292174"/>
                </a:cubicBezTo>
                <a:lnTo>
                  <a:pt x="171129" y="271974"/>
                </a:lnTo>
                <a:cubicBezTo>
                  <a:pt x="165725" y="269810"/>
                  <a:pt x="159960" y="265121"/>
                  <a:pt x="152755" y="259349"/>
                </a:cubicBezTo>
                <a:cubicBezTo>
                  <a:pt x="143748" y="252135"/>
                  <a:pt x="134021" y="244200"/>
                  <a:pt x="123933" y="240953"/>
                </a:cubicBezTo>
                <a:cubicBezTo>
                  <a:pt x="119610" y="239510"/>
                  <a:pt x="105199" y="241314"/>
                  <a:pt x="96553" y="243117"/>
                </a:cubicBezTo>
                <a:cubicBezTo>
                  <a:pt x="94751" y="243478"/>
                  <a:pt x="92950" y="242757"/>
                  <a:pt x="91869" y="240953"/>
                </a:cubicBezTo>
                <a:cubicBezTo>
                  <a:pt x="91509" y="240232"/>
                  <a:pt x="89347" y="235903"/>
                  <a:pt x="89708" y="225803"/>
                </a:cubicBezTo>
                <a:cubicBezTo>
                  <a:pt x="89708" y="225443"/>
                  <a:pt x="89708" y="225082"/>
                  <a:pt x="89708" y="224721"/>
                </a:cubicBezTo>
                <a:lnTo>
                  <a:pt x="27020" y="224721"/>
                </a:lnTo>
                <a:cubicBezTo>
                  <a:pt x="12249" y="224721"/>
                  <a:pt x="0" y="212457"/>
                  <a:pt x="0" y="197668"/>
                </a:cubicBezTo>
                <a:lnTo>
                  <a:pt x="0" y="27053"/>
                </a:lnTo>
                <a:cubicBezTo>
                  <a:pt x="0" y="11903"/>
                  <a:pt x="12249" y="0"/>
                  <a:pt x="27020" y="0"/>
                </a:cubicBezTo>
                <a:close/>
              </a:path>
            </a:pathLst>
          </a:custGeom>
          <a:solidFill>
            <a:schemeClr val="bg1"/>
          </a:solidFill>
          <a:ln>
            <a:noFill/>
          </a:ln>
          <a:effectLst/>
        </p:spPr>
        <p:txBody>
          <a:bodyPr anchor="ctr"/>
          <a:lstStyle/>
          <a:p>
            <a:endParaRPr lang="en-US" dirty="0">
              <a:latin typeface="Lato Light" panose="020F0502020204030203" pitchFamily="34" charset="0"/>
            </a:endParaRPr>
          </a:p>
        </p:txBody>
      </p:sp>
      <p:sp>
        <p:nvSpPr>
          <p:cNvPr id="49" name="Title 1">
            <a:extLst>
              <a:ext uri="{FF2B5EF4-FFF2-40B4-BE49-F238E27FC236}">
                <a16:creationId xmlns:a16="http://schemas.microsoft.com/office/drawing/2014/main" id="{20034B4C-4CF0-D993-14A6-D0980BD397EE}"/>
              </a:ext>
            </a:extLst>
          </p:cNvPr>
          <p:cNvSpPr txBox="1">
            <a:spLocks/>
          </p:cNvSpPr>
          <p:nvPr/>
        </p:nvSpPr>
        <p:spPr>
          <a:xfrm>
            <a:off x="7618" y="6412"/>
            <a:ext cx="6945837"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nternet Connection Speeds 2021-2022</a:t>
            </a:r>
          </a:p>
        </p:txBody>
      </p:sp>
      <p:sp>
        <p:nvSpPr>
          <p:cNvPr id="56" name="TextBox 55">
            <a:extLst>
              <a:ext uri="{FF2B5EF4-FFF2-40B4-BE49-F238E27FC236}">
                <a16:creationId xmlns:a16="http://schemas.microsoft.com/office/drawing/2014/main" id="{A5582052-3826-BB82-1242-8EAAA1E97230}"/>
              </a:ext>
            </a:extLst>
          </p:cNvPr>
          <p:cNvSpPr txBox="1"/>
          <p:nvPr/>
        </p:nvSpPr>
        <p:spPr>
          <a:xfrm>
            <a:off x="462235" y="4964020"/>
            <a:ext cx="1879600" cy="369332"/>
          </a:xfrm>
          <a:prstGeom prst="rect">
            <a:avLst/>
          </a:prstGeom>
          <a:noFill/>
        </p:spPr>
        <p:txBody>
          <a:bodyPr wrap="square" lIns="0" tIns="0" rIns="0" bIns="0" rtlCol="0">
            <a:spAutoFit/>
          </a:bodyPr>
          <a:lstStyle/>
          <a:p>
            <a:pPr algn="ctr"/>
            <a:r>
              <a:rPr lang="en-US" sz="2400" b="1" dirty="0">
                <a:solidFill>
                  <a:schemeClr val="bg2"/>
                </a:solidFill>
              </a:rPr>
              <a:t>120.33</a:t>
            </a:r>
          </a:p>
        </p:txBody>
      </p:sp>
      <p:sp>
        <p:nvSpPr>
          <p:cNvPr id="57" name="TextBox 56">
            <a:extLst>
              <a:ext uri="{FF2B5EF4-FFF2-40B4-BE49-F238E27FC236}">
                <a16:creationId xmlns:a16="http://schemas.microsoft.com/office/drawing/2014/main" id="{FA7E4571-E89E-E96B-EA39-2C72016CA1B6}"/>
              </a:ext>
            </a:extLst>
          </p:cNvPr>
          <p:cNvSpPr txBox="1"/>
          <p:nvPr/>
        </p:nvSpPr>
        <p:spPr>
          <a:xfrm>
            <a:off x="531970" y="4964691"/>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Download Mean</a:t>
            </a:r>
          </a:p>
        </p:txBody>
      </p:sp>
      <p:sp>
        <p:nvSpPr>
          <p:cNvPr id="58" name="TextBox 57">
            <a:extLst>
              <a:ext uri="{FF2B5EF4-FFF2-40B4-BE49-F238E27FC236}">
                <a16:creationId xmlns:a16="http://schemas.microsoft.com/office/drawing/2014/main" id="{78E8B3A2-DBB0-99E5-585E-BF954F027E86}"/>
              </a:ext>
            </a:extLst>
          </p:cNvPr>
          <p:cNvSpPr txBox="1"/>
          <p:nvPr/>
        </p:nvSpPr>
        <p:spPr>
          <a:xfrm>
            <a:off x="408979" y="5559068"/>
            <a:ext cx="1879600" cy="369332"/>
          </a:xfrm>
          <a:prstGeom prst="rect">
            <a:avLst/>
          </a:prstGeom>
          <a:noFill/>
        </p:spPr>
        <p:txBody>
          <a:bodyPr wrap="square" lIns="0" tIns="0" rIns="0" bIns="0" rtlCol="0">
            <a:spAutoFit/>
          </a:bodyPr>
          <a:lstStyle/>
          <a:p>
            <a:pPr algn="ctr"/>
            <a:r>
              <a:rPr lang="en-US" sz="2400" b="1" dirty="0">
                <a:solidFill>
                  <a:schemeClr val="bg2"/>
                </a:solidFill>
              </a:rPr>
              <a:t>67.15</a:t>
            </a:r>
          </a:p>
        </p:txBody>
      </p:sp>
      <p:sp>
        <p:nvSpPr>
          <p:cNvPr id="59" name="TextBox 58">
            <a:extLst>
              <a:ext uri="{FF2B5EF4-FFF2-40B4-BE49-F238E27FC236}">
                <a16:creationId xmlns:a16="http://schemas.microsoft.com/office/drawing/2014/main" id="{111F5B6A-EFFC-DB25-826A-9DA36EE4101F}"/>
              </a:ext>
            </a:extLst>
          </p:cNvPr>
          <p:cNvSpPr txBox="1"/>
          <p:nvPr/>
        </p:nvSpPr>
        <p:spPr>
          <a:xfrm>
            <a:off x="531970" y="5576393"/>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Upload Mean</a:t>
            </a:r>
          </a:p>
        </p:txBody>
      </p:sp>
      <p:sp>
        <p:nvSpPr>
          <p:cNvPr id="60" name="TextBox 59">
            <a:extLst>
              <a:ext uri="{FF2B5EF4-FFF2-40B4-BE49-F238E27FC236}">
                <a16:creationId xmlns:a16="http://schemas.microsoft.com/office/drawing/2014/main" id="{233F0FF0-2C35-9EEB-2D53-FFF3AA1EC5D5}"/>
              </a:ext>
            </a:extLst>
          </p:cNvPr>
          <p:cNvSpPr txBox="1"/>
          <p:nvPr/>
        </p:nvSpPr>
        <p:spPr>
          <a:xfrm>
            <a:off x="485497" y="6208586"/>
            <a:ext cx="1879600" cy="369332"/>
          </a:xfrm>
          <a:prstGeom prst="rect">
            <a:avLst/>
          </a:prstGeom>
          <a:noFill/>
        </p:spPr>
        <p:txBody>
          <a:bodyPr wrap="square" lIns="0" tIns="0" rIns="0" bIns="0" rtlCol="0">
            <a:spAutoFit/>
          </a:bodyPr>
          <a:lstStyle/>
          <a:p>
            <a:pPr algn="ctr"/>
            <a:r>
              <a:rPr lang="en-US" sz="2400" b="1" dirty="0">
                <a:solidFill>
                  <a:schemeClr val="bg2"/>
                </a:solidFill>
              </a:rPr>
              <a:t>18</a:t>
            </a:r>
          </a:p>
        </p:txBody>
      </p:sp>
      <p:sp>
        <p:nvSpPr>
          <p:cNvPr id="61" name="TextBox 60">
            <a:extLst>
              <a:ext uri="{FF2B5EF4-FFF2-40B4-BE49-F238E27FC236}">
                <a16:creationId xmlns:a16="http://schemas.microsoft.com/office/drawing/2014/main" id="{A5972677-C1A4-5F19-197B-D634037AE22E}"/>
              </a:ext>
            </a:extLst>
          </p:cNvPr>
          <p:cNvSpPr txBox="1"/>
          <p:nvPr/>
        </p:nvSpPr>
        <p:spPr>
          <a:xfrm>
            <a:off x="531970" y="6201862"/>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Latency Mean</a:t>
            </a:r>
          </a:p>
        </p:txBody>
      </p:sp>
      <p:sp>
        <p:nvSpPr>
          <p:cNvPr id="80" name="TextBox 79">
            <a:extLst>
              <a:ext uri="{FF2B5EF4-FFF2-40B4-BE49-F238E27FC236}">
                <a16:creationId xmlns:a16="http://schemas.microsoft.com/office/drawing/2014/main" id="{E446E425-922D-B14D-897F-C271AEA4738C}"/>
              </a:ext>
            </a:extLst>
          </p:cNvPr>
          <p:cNvSpPr txBox="1"/>
          <p:nvPr/>
        </p:nvSpPr>
        <p:spPr>
          <a:xfrm>
            <a:off x="2986550" y="4964020"/>
            <a:ext cx="1879600" cy="369332"/>
          </a:xfrm>
          <a:prstGeom prst="rect">
            <a:avLst/>
          </a:prstGeom>
          <a:noFill/>
        </p:spPr>
        <p:txBody>
          <a:bodyPr wrap="square" lIns="0" tIns="0" rIns="0" bIns="0" rtlCol="0">
            <a:spAutoFit/>
          </a:bodyPr>
          <a:lstStyle/>
          <a:p>
            <a:pPr algn="ctr"/>
            <a:r>
              <a:rPr lang="en-US" sz="2400" b="1" dirty="0">
                <a:solidFill>
                  <a:schemeClr val="accent6">
                    <a:lumMod val="75000"/>
                  </a:schemeClr>
                </a:solidFill>
              </a:rPr>
              <a:t>+31.4%</a:t>
            </a:r>
          </a:p>
        </p:txBody>
      </p:sp>
      <p:sp>
        <p:nvSpPr>
          <p:cNvPr id="82" name="TextBox 81">
            <a:extLst>
              <a:ext uri="{FF2B5EF4-FFF2-40B4-BE49-F238E27FC236}">
                <a16:creationId xmlns:a16="http://schemas.microsoft.com/office/drawing/2014/main" id="{BD538E77-9A6A-3790-153C-2611ADE6D15D}"/>
              </a:ext>
            </a:extLst>
          </p:cNvPr>
          <p:cNvSpPr txBox="1"/>
          <p:nvPr/>
        </p:nvSpPr>
        <p:spPr>
          <a:xfrm>
            <a:off x="2986550" y="5559068"/>
            <a:ext cx="1879600" cy="369332"/>
          </a:xfrm>
          <a:prstGeom prst="rect">
            <a:avLst/>
          </a:prstGeom>
          <a:noFill/>
        </p:spPr>
        <p:txBody>
          <a:bodyPr wrap="square" lIns="0" tIns="0" rIns="0" bIns="0" rtlCol="0">
            <a:spAutoFit/>
          </a:bodyPr>
          <a:lstStyle/>
          <a:p>
            <a:pPr algn="ctr"/>
            <a:r>
              <a:rPr lang="en-US" sz="2400" b="1" dirty="0">
                <a:solidFill>
                  <a:schemeClr val="accent6">
                    <a:lumMod val="75000"/>
                  </a:schemeClr>
                </a:solidFill>
              </a:rPr>
              <a:t>+36.7%</a:t>
            </a:r>
          </a:p>
        </p:txBody>
      </p:sp>
      <p:sp>
        <p:nvSpPr>
          <p:cNvPr id="84" name="TextBox 83">
            <a:extLst>
              <a:ext uri="{FF2B5EF4-FFF2-40B4-BE49-F238E27FC236}">
                <a16:creationId xmlns:a16="http://schemas.microsoft.com/office/drawing/2014/main" id="{E3277740-BD80-AD13-2501-EFADA86A1EB9}"/>
              </a:ext>
            </a:extLst>
          </p:cNvPr>
          <p:cNvSpPr txBox="1"/>
          <p:nvPr/>
        </p:nvSpPr>
        <p:spPr>
          <a:xfrm>
            <a:off x="3009812" y="6208586"/>
            <a:ext cx="1879600" cy="369332"/>
          </a:xfrm>
          <a:prstGeom prst="rect">
            <a:avLst/>
          </a:prstGeom>
          <a:noFill/>
        </p:spPr>
        <p:txBody>
          <a:bodyPr wrap="square" lIns="0" tIns="0" rIns="0" bIns="0" rtlCol="0">
            <a:spAutoFit/>
          </a:bodyPr>
          <a:lstStyle/>
          <a:p>
            <a:pPr algn="ctr"/>
            <a:r>
              <a:rPr lang="en-US" sz="2400" b="1" dirty="0">
                <a:solidFill>
                  <a:schemeClr val="accent6">
                    <a:lumMod val="75000"/>
                  </a:schemeClr>
                </a:solidFill>
              </a:rPr>
              <a:t>-14.3%</a:t>
            </a:r>
          </a:p>
        </p:txBody>
      </p:sp>
      <p:sp>
        <p:nvSpPr>
          <p:cNvPr id="92" name="TextBox 91">
            <a:extLst>
              <a:ext uri="{FF2B5EF4-FFF2-40B4-BE49-F238E27FC236}">
                <a16:creationId xmlns:a16="http://schemas.microsoft.com/office/drawing/2014/main" id="{28403094-0576-D630-504F-9D65FD2812A4}"/>
              </a:ext>
            </a:extLst>
          </p:cNvPr>
          <p:cNvSpPr txBox="1"/>
          <p:nvPr/>
        </p:nvSpPr>
        <p:spPr>
          <a:xfrm>
            <a:off x="7233371" y="4964020"/>
            <a:ext cx="1879600" cy="369332"/>
          </a:xfrm>
          <a:prstGeom prst="rect">
            <a:avLst/>
          </a:prstGeom>
          <a:noFill/>
        </p:spPr>
        <p:txBody>
          <a:bodyPr wrap="square" lIns="0" tIns="0" rIns="0" bIns="0" rtlCol="0">
            <a:spAutoFit/>
          </a:bodyPr>
          <a:lstStyle/>
          <a:p>
            <a:pPr algn="ctr"/>
            <a:r>
              <a:rPr lang="en-US" sz="2400" b="1" dirty="0">
                <a:solidFill>
                  <a:schemeClr val="bg1">
                    <a:lumMod val="65000"/>
                  </a:schemeClr>
                </a:solidFill>
              </a:rPr>
              <a:t>69.92</a:t>
            </a:r>
          </a:p>
        </p:txBody>
      </p:sp>
      <p:sp>
        <p:nvSpPr>
          <p:cNvPr id="94" name="TextBox 93">
            <a:extLst>
              <a:ext uri="{FF2B5EF4-FFF2-40B4-BE49-F238E27FC236}">
                <a16:creationId xmlns:a16="http://schemas.microsoft.com/office/drawing/2014/main" id="{30C182F5-4C97-32DC-2F08-B8E7B5AF794D}"/>
              </a:ext>
            </a:extLst>
          </p:cNvPr>
          <p:cNvSpPr txBox="1"/>
          <p:nvPr/>
        </p:nvSpPr>
        <p:spPr>
          <a:xfrm>
            <a:off x="7180115" y="5559068"/>
            <a:ext cx="1879600" cy="369332"/>
          </a:xfrm>
          <a:prstGeom prst="rect">
            <a:avLst/>
          </a:prstGeom>
          <a:noFill/>
        </p:spPr>
        <p:txBody>
          <a:bodyPr wrap="square" lIns="0" tIns="0" rIns="0" bIns="0" rtlCol="0">
            <a:spAutoFit/>
          </a:bodyPr>
          <a:lstStyle/>
          <a:p>
            <a:pPr algn="ctr"/>
            <a:r>
              <a:rPr lang="en-US" sz="2400" b="1" dirty="0">
                <a:solidFill>
                  <a:schemeClr val="bg1">
                    <a:lumMod val="65000"/>
                  </a:schemeClr>
                </a:solidFill>
              </a:rPr>
              <a:t>14.01</a:t>
            </a:r>
          </a:p>
        </p:txBody>
      </p:sp>
      <p:sp>
        <p:nvSpPr>
          <p:cNvPr id="96" name="TextBox 95">
            <a:extLst>
              <a:ext uri="{FF2B5EF4-FFF2-40B4-BE49-F238E27FC236}">
                <a16:creationId xmlns:a16="http://schemas.microsoft.com/office/drawing/2014/main" id="{02CBB6CA-829F-745A-446E-0A877A6E33EF}"/>
              </a:ext>
            </a:extLst>
          </p:cNvPr>
          <p:cNvSpPr txBox="1"/>
          <p:nvPr/>
        </p:nvSpPr>
        <p:spPr>
          <a:xfrm>
            <a:off x="7256633" y="6208586"/>
            <a:ext cx="1879600" cy="369332"/>
          </a:xfrm>
          <a:prstGeom prst="rect">
            <a:avLst/>
          </a:prstGeom>
          <a:noFill/>
        </p:spPr>
        <p:txBody>
          <a:bodyPr wrap="square" lIns="0" tIns="0" rIns="0" bIns="0" rtlCol="0">
            <a:spAutoFit/>
          </a:bodyPr>
          <a:lstStyle/>
          <a:p>
            <a:pPr algn="ctr"/>
            <a:r>
              <a:rPr lang="en-US" sz="2400" b="1" dirty="0">
                <a:solidFill>
                  <a:schemeClr val="bg1">
                    <a:lumMod val="65000"/>
                  </a:schemeClr>
                </a:solidFill>
              </a:rPr>
              <a:t>36</a:t>
            </a:r>
          </a:p>
        </p:txBody>
      </p:sp>
      <p:sp>
        <p:nvSpPr>
          <p:cNvPr id="104" name="TextBox 103">
            <a:extLst>
              <a:ext uri="{FF2B5EF4-FFF2-40B4-BE49-F238E27FC236}">
                <a16:creationId xmlns:a16="http://schemas.microsoft.com/office/drawing/2014/main" id="{1185B858-5DC9-59F4-927D-D8914999B761}"/>
              </a:ext>
            </a:extLst>
          </p:cNvPr>
          <p:cNvSpPr txBox="1"/>
          <p:nvPr/>
        </p:nvSpPr>
        <p:spPr>
          <a:xfrm>
            <a:off x="9776824" y="4964020"/>
            <a:ext cx="1879600" cy="369332"/>
          </a:xfrm>
          <a:prstGeom prst="rect">
            <a:avLst/>
          </a:prstGeom>
          <a:noFill/>
        </p:spPr>
        <p:txBody>
          <a:bodyPr wrap="square" lIns="0" tIns="0" rIns="0" bIns="0" rtlCol="0">
            <a:spAutoFit/>
          </a:bodyPr>
          <a:lstStyle/>
          <a:p>
            <a:pPr algn="ctr"/>
            <a:r>
              <a:rPr lang="en-US" sz="2400" b="1" dirty="0">
                <a:solidFill>
                  <a:schemeClr val="accent4"/>
                </a:solidFill>
              </a:rPr>
              <a:t>+53.0%</a:t>
            </a:r>
          </a:p>
        </p:txBody>
      </p:sp>
      <p:sp>
        <p:nvSpPr>
          <p:cNvPr id="106" name="TextBox 105">
            <a:extLst>
              <a:ext uri="{FF2B5EF4-FFF2-40B4-BE49-F238E27FC236}">
                <a16:creationId xmlns:a16="http://schemas.microsoft.com/office/drawing/2014/main" id="{4A6E1C9F-4F25-EBAE-CBBE-05E72A52D8FA}"/>
              </a:ext>
            </a:extLst>
          </p:cNvPr>
          <p:cNvSpPr txBox="1"/>
          <p:nvPr/>
        </p:nvSpPr>
        <p:spPr>
          <a:xfrm>
            <a:off x="9776824" y="5559068"/>
            <a:ext cx="1879600" cy="369332"/>
          </a:xfrm>
          <a:prstGeom prst="rect">
            <a:avLst/>
          </a:prstGeom>
          <a:noFill/>
        </p:spPr>
        <p:txBody>
          <a:bodyPr wrap="square" lIns="0" tIns="0" rIns="0" bIns="0" rtlCol="0">
            <a:spAutoFit/>
          </a:bodyPr>
          <a:lstStyle/>
          <a:p>
            <a:pPr algn="ctr"/>
            <a:r>
              <a:rPr lang="en-US" sz="2400" b="1" dirty="0">
                <a:solidFill>
                  <a:schemeClr val="accent4"/>
                </a:solidFill>
              </a:rPr>
              <a:t>+11.2%</a:t>
            </a:r>
          </a:p>
        </p:txBody>
      </p:sp>
      <p:sp>
        <p:nvSpPr>
          <p:cNvPr id="108" name="TextBox 107">
            <a:extLst>
              <a:ext uri="{FF2B5EF4-FFF2-40B4-BE49-F238E27FC236}">
                <a16:creationId xmlns:a16="http://schemas.microsoft.com/office/drawing/2014/main" id="{AFCA35EB-89BF-E891-10C4-6F369407FEA5}"/>
              </a:ext>
            </a:extLst>
          </p:cNvPr>
          <p:cNvSpPr txBox="1"/>
          <p:nvPr/>
        </p:nvSpPr>
        <p:spPr>
          <a:xfrm>
            <a:off x="9800086" y="6208586"/>
            <a:ext cx="1879600" cy="369332"/>
          </a:xfrm>
          <a:prstGeom prst="rect">
            <a:avLst/>
          </a:prstGeom>
          <a:noFill/>
        </p:spPr>
        <p:txBody>
          <a:bodyPr wrap="square" lIns="0" tIns="0" rIns="0" bIns="0" rtlCol="0">
            <a:spAutoFit/>
          </a:bodyPr>
          <a:lstStyle/>
          <a:p>
            <a:pPr algn="ctr"/>
            <a:r>
              <a:rPr lang="en-US" sz="2400" b="1" dirty="0">
                <a:solidFill>
                  <a:schemeClr val="accent4"/>
                </a:solidFill>
              </a:rPr>
              <a:t>0%</a:t>
            </a:r>
          </a:p>
        </p:txBody>
      </p:sp>
      <p:sp>
        <p:nvSpPr>
          <p:cNvPr id="110" name="TextBox 109">
            <a:extLst>
              <a:ext uri="{FF2B5EF4-FFF2-40B4-BE49-F238E27FC236}">
                <a16:creationId xmlns:a16="http://schemas.microsoft.com/office/drawing/2014/main" id="{3871237F-F1FE-644C-C799-9404C9351ED3}"/>
              </a:ext>
            </a:extLst>
          </p:cNvPr>
          <p:cNvSpPr txBox="1"/>
          <p:nvPr/>
        </p:nvSpPr>
        <p:spPr>
          <a:xfrm>
            <a:off x="2960725" y="1201309"/>
            <a:ext cx="1741331" cy="996170"/>
          </a:xfrm>
          <a:prstGeom prst="rect">
            <a:avLst/>
          </a:prstGeom>
          <a:noFill/>
        </p:spPr>
        <p:txBody>
          <a:bodyPr wrap="square" rtlCol="0" anchor="t">
            <a:spAutoFit/>
          </a:bodyPr>
          <a:lstStyle/>
          <a:p>
            <a:pPr algn="ctr">
              <a:lnSpc>
                <a:spcPts val="1750"/>
              </a:lnSpc>
              <a:spcBef>
                <a:spcPts val="900"/>
              </a:spcBef>
            </a:pPr>
            <a:r>
              <a:rPr lang="en-US" sz="1400" b="1" dirty="0">
                <a:latin typeface="+mj-lt"/>
                <a:ea typeface="Lato Light" panose="020F0502020204030203" pitchFamily="34" charset="0"/>
                <a:cs typeface="Lato Light" panose="020F0502020204030203" pitchFamily="34" charset="0"/>
              </a:rPr>
              <a:t>YoY Change in Average Speed of Fixed Internet Connections</a:t>
            </a:r>
          </a:p>
        </p:txBody>
      </p:sp>
      <p:sp>
        <p:nvSpPr>
          <p:cNvPr id="111" name="TextBox 110">
            <a:extLst>
              <a:ext uri="{FF2B5EF4-FFF2-40B4-BE49-F238E27FC236}">
                <a16:creationId xmlns:a16="http://schemas.microsoft.com/office/drawing/2014/main" id="{BCAD687F-9220-65B8-0A14-47B12B563D9E}"/>
              </a:ext>
            </a:extLst>
          </p:cNvPr>
          <p:cNvSpPr txBox="1"/>
          <p:nvPr/>
        </p:nvSpPr>
        <p:spPr>
          <a:xfrm>
            <a:off x="7113199" y="1315411"/>
            <a:ext cx="1879600" cy="767967"/>
          </a:xfrm>
          <a:prstGeom prst="rect">
            <a:avLst/>
          </a:prstGeom>
          <a:noFill/>
        </p:spPr>
        <p:txBody>
          <a:bodyPr wrap="square" rtlCol="0" anchor="t">
            <a:spAutoFit/>
          </a:bodyPr>
          <a:lstStyle/>
          <a:p>
            <a:pPr algn="ctr">
              <a:lnSpc>
                <a:spcPts val="1750"/>
              </a:lnSpc>
              <a:spcBef>
                <a:spcPts val="900"/>
              </a:spcBef>
            </a:pPr>
            <a:r>
              <a:rPr lang="en-US" sz="1400" b="1" dirty="0">
                <a:latin typeface="+mj-lt"/>
                <a:ea typeface="Lato Light" panose="020F0502020204030203" pitchFamily="34" charset="0"/>
                <a:cs typeface="Lato Light" panose="020F0502020204030203" pitchFamily="34" charset="0"/>
              </a:rPr>
              <a:t>Average Speed of Mobile Internet Connections</a:t>
            </a:r>
          </a:p>
        </p:txBody>
      </p:sp>
      <p:sp>
        <p:nvSpPr>
          <p:cNvPr id="112" name="TextBox 111">
            <a:extLst>
              <a:ext uri="{FF2B5EF4-FFF2-40B4-BE49-F238E27FC236}">
                <a16:creationId xmlns:a16="http://schemas.microsoft.com/office/drawing/2014/main" id="{BC9EBCB8-D2F5-CD42-E896-EF9212DADAF5}"/>
              </a:ext>
            </a:extLst>
          </p:cNvPr>
          <p:cNvSpPr txBox="1"/>
          <p:nvPr/>
        </p:nvSpPr>
        <p:spPr>
          <a:xfrm>
            <a:off x="9541954" y="1199994"/>
            <a:ext cx="1879600" cy="998800"/>
          </a:xfrm>
          <a:prstGeom prst="rect">
            <a:avLst/>
          </a:prstGeom>
          <a:noFill/>
        </p:spPr>
        <p:txBody>
          <a:bodyPr wrap="square" rtlCol="0" anchor="t">
            <a:spAutoFit/>
          </a:bodyPr>
          <a:lstStyle/>
          <a:p>
            <a:pPr algn="ctr">
              <a:lnSpc>
                <a:spcPts val="1750"/>
              </a:lnSpc>
              <a:spcBef>
                <a:spcPts val="900"/>
              </a:spcBef>
            </a:pPr>
            <a:r>
              <a:rPr lang="en-US" sz="1400" b="1" dirty="0">
                <a:latin typeface="+mj-lt"/>
                <a:ea typeface="Lato Light" panose="020F0502020204030203" pitchFamily="34" charset="0"/>
                <a:cs typeface="Lato Light" panose="020F0502020204030203" pitchFamily="34" charset="0"/>
              </a:rPr>
              <a:t>YoY Change in Average Speed of Mobile Internet Connections</a:t>
            </a:r>
          </a:p>
        </p:txBody>
      </p:sp>
      <p:cxnSp>
        <p:nvCxnSpPr>
          <p:cNvPr id="113" name="Straight Connector 112">
            <a:extLst>
              <a:ext uri="{FF2B5EF4-FFF2-40B4-BE49-F238E27FC236}">
                <a16:creationId xmlns:a16="http://schemas.microsoft.com/office/drawing/2014/main" id="{C29E2C35-A2DE-9E94-7216-B50F5F54DCFC}"/>
              </a:ext>
            </a:extLst>
          </p:cNvPr>
          <p:cNvCxnSpPr>
            <a:cxnSpLocks/>
          </p:cNvCxnSpPr>
          <p:nvPr/>
        </p:nvCxnSpPr>
        <p:spPr>
          <a:xfrm>
            <a:off x="6283325" y="958239"/>
            <a:ext cx="0" cy="5695885"/>
          </a:xfrm>
          <a:prstGeom prst="line">
            <a:avLst/>
          </a:prstGeom>
          <a:ln w="38100">
            <a:solidFill>
              <a:schemeClr val="bg1">
                <a:lumMod val="75000"/>
              </a:schemeClr>
            </a:solidFill>
            <a:headEnd type="oval" w="lg" len="lg"/>
            <a:tailEnd type="oval" w="lg" len="lg"/>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96B47F1B-4B3A-775D-BA2B-37A81D813D26}"/>
              </a:ext>
            </a:extLst>
          </p:cNvPr>
          <p:cNvSpPr txBox="1"/>
          <p:nvPr/>
        </p:nvSpPr>
        <p:spPr>
          <a:xfrm>
            <a:off x="7213089" y="4964691"/>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Download Mean</a:t>
            </a:r>
          </a:p>
        </p:txBody>
      </p:sp>
      <p:sp>
        <p:nvSpPr>
          <p:cNvPr id="3" name="TextBox 2">
            <a:extLst>
              <a:ext uri="{FF2B5EF4-FFF2-40B4-BE49-F238E27FC236}">
                <a16:creationId xmlns:a16="http://schemas.microsoft.com/office/drawing/2014/main" id="{2AD4D5E3-650C-349B-81F3-252E632D205E}"/>
              </a:ext>
            </a:extLst>
          </p:cNvPr>
          <p:cNvSpPr txBox="1"/>
          <p:nvPr/>
        </p:nvSpPr>
        <p:spPr>
          <a:xfrm>
            <a:off x="7256633" y="5576393"/>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Upload Mean</a:t>
            </a:r>
          </a:p>
        </p:txBody>
      </p:sp>
      <p:sp>
        <p:nvSpPr>
          <p:cNvPr id="5" name="TextBox 4">
            <a:extLst>
              <a:ext uri="{FF2B5EF4-FFF2-40B4-BE49-F238E27FC236}">
                <a16:creationId xmlns:a16="http://schemas.microsoft.com/office/drawing/2014/main" id="{42F86D76-17B6-F044-C779-092A8ED489BD}"/>
              </a:ext>
            </a:extLst>
          </p:cNvPr>
          <p:cNvSpPr txBox="1"/>
          <p:nvPr/>
        </p:nvSpPr>
        <p:spPr>
          <a:xfrm>
            <a:off x="7256633" y="6201862"/>
            <a:ext cx="4290625" cy="303673"/>
          </a:xfrm>
          <a:prstGeom prst="rect">
            <a:avLst/>
          </a:prstGeom>
          <a:noFill/>
        </p:spPr>
        <p:txBody>
          <a:bodyPr wrap="square" rtlCol="0" anchor="t">
            <a:spAutoFit/>
          </a:bodyPr>
          <a:lstStyle/>
          <a:p>
            <a:pPr algn="ctr">
              <a:lnSpc>
                <a:spcPts val="1750"/>
              </a:lnSpc>
              <a:spcBef>
                <a:spcPts val="900"/>
              </a:spcBef>
            </a:pPr>
            <a:r>
              <a:rPr lang="en-US" sz="1400" b="1" dirty="0">
                <a:latin typeface="Lato Light" panose="020F0502020204030203" pitchFamily="34" charset="0"/>
                <a:ea typeface="Lato Light" panose="020F0502020204030203" pitchFamily="34" charset="0"/>
                <a:cs typeface="Lato Light" panose="020F0502020204030203" pitchFamily="34" charset="0"/>
              </a:rPr>
              <a:t>Latency Mean</a:t>
            </a:r>
          </a:p>
        </p:txBody>
      </p:sp>
    </p:spTree>
    <p:extLst>
      <p:ext uri="{BB962C8B-B14F-4D97-AF65-F5344CB8AC3E}">
        <p14:creationId xmlns:p14="http://schemas.microsoft.com/office/powerpoint/2010/main" val="11400924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1E785D-E5E6-1432-650B-DE35293B10D9}"/>
              </a:ext>
            </a:extLst>
          </p:cNvPr>
          <p:cNvGraphicFramePr>
            <a:graphicFrameLocks noChangeAspect="1"/>
          </p:cNvGraphicFramePr>
          <p:nvPr>
            <p:custDataLst>
              <p:tags r:id="rId2"/>
            </p:custDataLst>
            <p:extLst>
              <p:ext uri="{D42A27DB-BD31-4B8C-83A1-F6EECF244321}">
                <p14:modId xmlns:p14="http://schemas.microsoft.com/office/powerpoint/2010/main" val="889879036"/>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764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2C1E785D-E5E6-1432-650B-DE35293B10D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0244" name="Picture 4" descr="COVID-19: ¿Cómo abordar la 'nueva enseñanza' si la mitad de los estudiantes  no tiene internet ni ordenador?">
            <a:extLst>
              <a:ext uri="{FF2B5EF4-FFF2-40B4-BE49-F238E27FC236}">
                <a16:creationId xmlns:a16="http://schemas.microsoft.com/office/drawing/2014/main" id="{16E50654-4FE1-B32E-1A35-4AC4197F35D8}"/>
              </a:ext>
            </a:extLst>
          </p:cNvPr>
          <p:cNvPicPr>
            <a:picLocks noChangeAspect="1" noChangeArrowheads="1"/>
          </p:cNvPicPr>
          <p:nvPr/>
        </p:nvPicPr>
        <p:blipFill>
          <a:blip r:embed="rId7">
            <a:alphaModFix amt="79000"/>
            <a:extLst>
              <a:ext uri="{28A0092B-C50C-407E-A947-70E740481C1C}">
                <a14:useLocalDpi xmlns:a14="http://schemas.microsoft.com/office/drawing/2010/main"/>
              </a:ext>
            </a:extLst>
          </a:blip>
          <a:srcRect/>
          <a:stretch>
            <a:fillRect/>
          </a:stretch>
        </p:blipFill>
        <p:spPr bwMode="auto">
          <a:xfrm>
            <a:off x="-114300" y="0"/>
            <a:ext cx="12306300" cy="6888778"/>
          </a:xfrm>
          <a:prstGeom prst="rect">
            <a:avLst/>
          </a:prstGeom>
          <a:noFill/>
          <a:extLst>
            <a:ext uri="{909E8E84-426E-40DD-AFC4-6F175D3DCCD1}">
              <a14:hiddenFill xmlns:a14="http://schemas.microsoft.com/office/drawing/2010/main">
                <a:solidFill>
                  <a:srgbClr val="FFFFFF"/>
                </a:solidFill>
              </a14:hiddenFill>
            </a:ext>
          </a:extLst>
        </p:spPr>
      </p:pic>
      <p:sp>
        <p:nvSpPr>
          <p:cNvPr id="32" name="Title 1">
            <a:extLst>
              <a:ext uri="{FF2B5EF4-FFF2-40B4-BE49-F238E27FC236}">
                <a16:creationId xmlns:a16="http://schemas.microsoft.com/office/drawing/2014/main" id="{5BD8E0E2-A1FA-F93A-73D9-4ED2F635CA6A}"/>
              </a:ext>
            </a:extLst>
          </p:cNvPr>
          <p:cNvSpPr txBox="1">
            <a:spLocks/>
          </p:cNvSpPr>
          <p:nvPr/>
        </p:nvSpPr>
        <p:spPr>
          <a:xfrm>
            <a:off x="96518" y="0"/>
            <a:ext cx="10805030"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The pandemic changed our network requirements</a:t>
            </a:r>
          </a:p>
        </p:txBody>
      </p:sp>
    </p:spTree>
    <p:extLst>
      <p:ext uri="{BB962C8B-B14F-4D97-AF65-F5344CB8AC3E}">
        <p14:creationId xmlns:p14="http://schemas.microsoft.com/office/powerpoint/2010/main" val="154489936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1E785D-E5E6-1432-650B-DE35293B10D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8673"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2C1E785D-E5E6-1432-650B-DE35293B10D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17410" name="Picture 2" descr="Occupational safety and health in teleworking: Crucial changes needed to  protect workers' health while teleworking">
            <a:extLst>
              <a:ext uri="{FF2B5EF4-FFF2-40B4-BE49-F238E27FC236}">
                <a16:creationId xmlns:a16="http://schemas.microsoft.com/office/drawing/2014/main" id="{CB2DCFF9-4385-8017-C5DA-FFADE79A1A94}"/>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271930" y="454031"/>
            <a:ext cx="4622800" cy="2588768"/>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Northwell earns care delivery award for telehealth services | Northwell  Health">
            <a:extLst>
              <a:ext uri="{FF2B5EF4-FFF2-40B4-BE49-F238E27FC236}">
                <a16:creationId xmlns:a16="http://schemas.microsoft.com/office/drawing/2014/main" id="{0B8AC791-EFE3-C9AE-0852-79BB06CA9AC5}"/>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271930" y="3400431"/>
            <a:ext cx="4622800" cy="2588768"/>
          </a:xfrm>
          <a:prstGeom prst="rect">
            <a:avLst/>
          </a:prstGeom>
          <a:noFill/>
          <a:extLst>
            <a:ext uri="{909E8E84-426E-40DD-AFC4-6F175D3DCCD1}">
              <a14:hiddenFill xmlns:a14="http://schemas.microsoft.com/office/drawing/2010/main">
                <a:solidFill>
                  <a:srgbClr val="FFFFFF"/>
                </a:solidFill>
              </a14:hiddenFill>
            </a:ext>
          </a:extLst>
        </p:spPr>
      </p:pic>
      <p:pic>
        <p:nvPicPr>
          <p:cNvPr id="17416" name="Picture 8" descr="E-learning: aprende a utilizarlo para crecer profesionalmente">
            <a:extLst>
              <a:ext uri="{FF2B5EF4-FFF2-40B4-BE49-F238E27FC236}">
                <a16:creationId xmlns:a16="http://schemas.microsoft.com/office/drawing/2014/main" id="{36AC3D00-AD4A-A1A9-81CF-63FDC4027C28}"/>
              </a:ext>
            </a:extLst>
          </p:cNvPr>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6444130" y="3400431"/>
            <a:ext cx="4622800" cy="2588768"/>
          </a:xfrm>
          <a:prstGeom prst="rect">
            <a:avLst/>
          </a:prstGeom>
          <a:noFill/>
          <a:extLst>
            <a:ext uri="{909E8E84-426E-40DD-AFC4-6F175D3DCCD1}">
              <a14:hiddenFill xmlns:a14="http://schemas.microsoft.com/office/drawing/2010/main">
                <a:solidFill>
                  <a:srgbClr val="FFFFFF"/>
                </a:solidFill>
              </a14:hiddenFill>
            </a:ext>
          </a:extLst>
        </p:spPr>
      </p:pic>
      <p:pic>
        <p:nvPicPr>
          <p:cNvPr id="17420" name="Picture 12" descr="UX writing for e-commerce prices • UX Content Collective">
            <a:extLst>
              <a:ext uri="{FF2B5EF4-FFF2-40B4-BE49-F238E27FC236}">
                <a16:creationId xmlns:a16="http://schemas.microsoft.com/office/drawing/2014/main" id="{090961A5-5014-4D1E-F062-204F6794CCB9}"/>
              </a:ext>
            </a:extLst>
          </p:cNvPr>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6444130" y="454031"/>
            <a:ext cx="4622800" cy="2588768"/>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a:extLst>
              <a:ext uri="{FF2B5EF4-FFF2-40B4-BE49-F238E27FC236}">
                <a16:creationId xmlns:a16="http://schemas.microsoft.com/office/drawing/2014/main" id="{7074D0BB-4E7E-4109-1D83-3D6DC67CEA49}"/>
              </a:ext>
            </a:extLst>
          </p:cNvPr>
          <p:cNvSpPr txBox="1">
            <a:spLocks/>
          </p:cNvSpPr>
          <p:nvPr/>
        </p:nvSpPr>
        <p:spPr>
          <a:xfrm>
            <a:off x="7618" y="6412"/>
            <a:ext cx="113461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We experienced an increase in traffic and new demands</a:t>
            </a:r>
          </a:p>
        </p:txBody>
      </p:sp>
      <p:sp>
        <p:nvSpPr>
          <p:cNvPr id="13" name="TextBox 12">
            <a:extLst>
              <a:ext uri="{FF2B5EF4-FFF2-40B4-BE49-F238E27FC236}">
                <a16:creationId xmlns:a16="http://schemas.microsoft.com/office/drawing/2014/main" id="{547E07DD-7733-7E86-D371-6586D1A6935E}"/>
              </a:ext>
            </a:extLst>
          </p:cNvPr>
          <p:cNvSpPr txBox="1"/>
          <p:nvPr/>
        </p:nvSpPr>
        <p:spPr>
          <a:xfrm>
            <a:off x="1567330" y="3031099"/>
            <a:ext cx="1435100" cy="369332"/>
          </a:xfrm>
          <a:prstGeom prst="rect">
            <a:avLst/>
          </a:prstGeom>
          <a:noFill/>
        </p:spPr>
        <p:txBody>
          <a:bodyPr wrap="square">
            <a:spAutoFit/>
          </a:bodyPr>
          <a:lstStyle/>
          <a:p>
            <a:r>
              <a:rPr lang="en-US" sz="1800" dirty="0">
                <a:solidFill>
                  <a:schemeClr val="tx2"/>
                </a:solidFill>
              </a:rPr>
              <a:t>Teleworking</a:t>
            </a:r>
            <a:endParaRPr lang="en-US" dirty="0">
              <a:solidFill>
                <a:schemeClr val="tx2"/>
              </a:solidFill>
            </a:endParaRPr>
          </a:p>
        </p:txBody>
      </p:sp>
      <p:sp>
        <p:nvSpPr>
          <p:cNvPr id="14" name="TextBox 13">
            <a:extLst>
              <a:ext uri="{FF2B5EF4-FFF2-40B4-BE49-F238E27FC236}">
                <a16:creationId xmlns:a16="http://schemas.microsoft.com/office/drawing/2014/main" id="{B0945AB4-BA8A-3BC7-4D1C-351DC3FA4489}"/>
              </a:ext>
            </a:extLst>
          </p:cNvPr>
          <p:cNvSpPr txBox="1"/>
          <p:nvPr/>
        </p:nvSpPr>
        <p:spPr>
          <a:xfrm>
            <a:off x="1567330" y="5989199"/>
            <a:ext cx="1435100" cy="369332"/>
          </a:xfrm>
          <a:prstGeom prst="rect">
            <a:avLst/>
          </a:prstGeom>
          <a:noFill/>
        </p:spPr>
        <p:txBody>
          <a:bodyPr wrap="square">
            <a:spAutoFit/>
          </a:bodyPr>
          <a:lstStyle/>
          <a:p>
            <a:r>
              <a:rPr lang="en-US" sz="1800" dirty="0">
                <a:solidFill>
                  <a:schemeClr val="tx2"/>
                </a:solidFill>
              </a:rPr>
              <a:t>Telehealth</a:t>
            </a:r>
            <a:endParaRPr lang="en-US" dirty="0">
              <a:solidFill>
                <a:schemeClr val="tx2"/>
              </a:solidFill>
            </a:endParaRPr>
          </a:p>
        </p:txBody>
      </p:sp>
      <p:sp>
        <p:nvSpPr>
          <p:cNvPr id="15" name="TextBox 14">
            <a:extLst>
              <a:ext uri="{FF2B5EF4-FFF2-40B4-BE49-F238E27FC236}">
                <a16:creationId xmlns:a16="http://schemas.microsoft.com/office/drawing/2014/main" id="{D816EA00-ADB9-ED23-0907-0283DB18AD8E}"/>
              </a:ext>
            </a:extLst>
          </p:cNvPr>
          <p:cNvSpPr txBox="1"/>
          <p:nvPr/>
        </p:nvSpPr>
        <p:spPr>
          <a:xfrm>
            <a:off x="8037980" y="3031099"/>
            <a:ext cx="1758950" cy="369332"/>
          </a:xfrm>
          <a:prstGeom prst="rect">
            <a:avLst/>
          </a:prstGeom>
          <a:noFill/>
        </p:spPr>
        <p:txBody>
          <a:bodyPr wrap="square">
            <a:spAutoFit/>
          </a:bodyPr>
          <a:lstStyle/>
          <a:p>
            <a:r>
              <a:rPr lang="en-US" sz="1800" dirty="0">
                <a:solidFill>
                  <a:schemeClr val="tx2"/>
                </a:solidFill>
              </a:rPr>
              <a:t>E-commerce</a:t>
            </a:r>
            <a:endParaRPr lang="en-US" dirty="0">
              <a:solidFill>
                <a:schemeClr val="tx2"/>
              </a:solidFill>
            </a:endParaRPr>
          </a:p>
        </p:txBody>
      </p:sp>
      <p:sp>
        <p:nvSpPr>
          <p:cNvPr id="16" name="TextBox 15">
            <a:extLst>
              <a:ext uri="{FF2B5EF4-FFF2-40B4-BE49-F238E27FC236}">
                <a16:creationId xmlns:a16="http://schemas.microsoft.com/office/drawing/2014/main" id="{2E9AB4F9-07B3-009D-D5CF-1EBDE9381172}"/>
              </a:ext>
            </a:extLst>
          </p:cNvPr>
          <p:cNvSpPr txBox="1"/>
          <p:nvPr/>
        </p:nvSpPr>
        <p:spPr>
          <a:xfrm>
            <a:off x="8193555" y="5997489"/>
            <a:ext cx="1758950" cy="369332"/>
          </a:xfrm>
          <a:prstGeom prst="rect">
            <a:avLst/>
          </a:prstGeom>
          <a:noFill/>
        </p:spPr>
        <p:txBody>
          <a:bodyPr wrap="square">
            <a:spAutoFit/>
          </a:bodyPr>
          <a:lstStyle/>
          <a:p>
            <a:r>
              <a:rPr lang="en-US" sz="1800" dirty="0">
                <a:solidFill>
                  <a:schemeClr val="tx2"/>
                </a:solidFill>
              </a:rPr>
              <a:t>E-learning</a:t>
            </a:r>
            <a:endParaRPr lang="en-US" dirty="0">
              <a:solidFill>
                <a:schemeClr val="tx2"/>
              </a:solidFill>
            </a:endParaRPr>
          </a:p>
        </p:txBody>
      </p:sp>
      <p:sp>
        <p:nvSpPr>
          <p:cNvPr id="17" name="TextBox 16">
            <a:extLst>
              <a:ext uri="{FF2B5EF4-FFF2-40B4-BE49-F238E27FC236}">
                <a16:creationId xmlns:a16="http://schemas.microsoft.com/office/drawing/2014/main" id="{9F996F44-4D3B-DD90-5B84-BD968EDB1257}"/>
              </a:ext>
            </a:extLst>
          </p:cNvPr>
          <p:cNvSpPr txBox="1"/>
          <p:nvPr/>
        </p:nvSpPr>
        <p:spPr>
          <a:xfrm>
            <a:off x="-7618" y="6433525"/>
            <a:ext cx="12198723" cy="430887"/>
          </a:xfrm>
          <a:prstGeom prst="rect">
            <a:avLst/>
          </a:prstGeom>
          <a:solidFill>
            <a:schemeClr val="accent4"/>
          </a:solidFill>
          <a:ln>
            <a:solidFill>
              <a:srgbClr val="0070C0"/>
            </a:solidFill>
          </a:ln>
        </p:spPr>
        <p:txBody>
          <a:bodyPr wrap="square" lIns="0" tIns="0" rIns="0" bIns="0" rtlCol="0">
            <a:spAutoFit/>
          </a:bodyPr>
          <a:lstStyle/>
          <a:p>
            <a:pPr algn="ctr"/>
            <a:r>
              <a:rPr lang="en-US" sz="2800" dirty="0">
                <a:solidFill>
                  <a:schemeClr val="bg1"/>
                </a:solidFill>
              </a:rPr>
              <a:t>Accelerating Digital requirements by 5 years</a:t>
            </a:r>
          </a:p>
        </p:txBody>
      </p:sp>
    </p:spTree>
    <p:extLst>
      <p:ext uri="{BB962C8B-B14F-4D97-AF65-F5344CB8AC3E}">
        <p14:creationId xmlns:p14="http://schemas.microsoft.com/office/powerpoint/2010/main" val="238874119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7B315A3A-4E9D-9F44-8FAF-AD26629837E1}"/>
              </a:ext>
            </a:extLst>
          </p:cNvPr>
          <p:cNvGrpSpPr/>
          <p:nvPr/>
        </p:nvGrpSpPr>
        <p:grpSpPr>
          <a:xfrm>
            <a:off x="714498" y="2972854"/>
            <a:ext cx="5056371" cy="1275975"/>
            <a:chOff x="7344158" y="7200757"/>
            <a:chExt cx="10112741" cy="2551949"/>
          </a:xfrm>
        </p:grpSpPr>
        <p:sp>
          <p:nvSpPr>
            <p:cNvPr id="3073" name="Freeform 1">
              <a:extLst>
                <a:ext uri="{FF2B5EF4-FFF2-40B4-BE49-F238E27FC236}">
                  <a16:creationId xmlns:a16="http://schemas.microsoft.com/office/drawing/2014/main" id="{3083EA2E-FB97-0D40-B23B-D2FB087AD066}"/>
                </a:ext>
              </a:extLst>
            </p:cNvPr>
            <p:cNvSpPr>
              <a:spLocks noChangeArrowheads="1"/>
            </p:cNvSpPr>
            <p:nvPr/>
          </p:nvSpPr>
          <p:spPr bwMode="auto">
            <a:xfrm>
              <a:off x="7491053" y="9254415"/>
              <a:ext cx="1595688" cy="498291"/>
            </a:xfrm>
            <a:custGeom>
              <a:avLst/>
              <a:gdLst>
                <a:gd name="T0" fmla="*/ 439 w 2443"/>
                <a:gd name="T1" fmla="*/ 764 h 765"/>
                <a:gd name="T2" fmla="*/ 0 w 2443"/>
                <a:gd name="T3" fmla="*/ 0 h 765"/>
                <a:gd name="T4" fmla="*/ 2442 w 2443"/>
                <a:gd name="T5" fmla="*/ 0 h 765"/>
                <a:gd name="T6" fmla="*/ 2004 w 2443"/>
                <a:gd name="T7" fmla="*/ 764 h 765"/>
                <a:gd name="T8" fmla="*/ 439 w 2443"/>
                <a:gd name="T9" fmla="*/ 764 h 765"/>
              </a:gdLst>
              <a:ahLst/>
              <a:cxnLst>
                <a:cxn ang="0">
                  <a:pos x="T0" y="T1"/>
                </a:cxn>
                <a:cxn ang="0">
                  <a:pos x="T2" y="T3"/>
                </a:cxn>
                <a:cxn ang="0">
                  <a:pos x="T4" y="T5"/>
                </a:cxn>
                <a:cxn ang="0">
                  <a:pos x="T6" y="T7"/>
                </a:cxn>
                <a:cxn ang="0">
                  <a:pos x="T8" y="T9"/>
                </a:cxn>
              </a:cxnLst>
              <a:rect l="0" t="0" r="r" b="b"/>
              <a:pathLst>
                <a:path w="2443" h="765">
                  <a:moveTo>
                    <a:pt x="439" y="764"/>
                  </a:moveTo>
                  <a:lnTo>
                    <a:pt x="0" y="0"/>
                  </a:lnTo>
                  <a:lnTo>
                    <a:pt x="2442" y="0"/>
                  </a:lnTo>
                  <a:lnTo>
                    <a:pt x="2004" y="764"/>
                  </a:lnTo>
                  <a:lnTo>
                    <a:pt x="439" y="764"/>
                  </a:lnTo>
                </a:path>
              </a:pathLst>
            </a:custGeom>
            <a:solidFill>
              <a:schemeClr val="accent2">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3074" name="Freeform 2">
              <a:extLst>
                <a:ext uri="{FF2B5EF4-FFF2-40B4-BE49-F238E27FC236}">
                  <a16:creationId xmlns:a16="http://schemas.microsoft.com/office/drawing/2014/main" id="{10179A06-046B-DF40-9D54-E7DDA84B8F7C}"/>
                </a:ext>
              </a:extLst>
            </p:cNvPr>
            <p:cNvSpPr>
              <a:spLocks noChangeArrowheads="1"/>
            </p:cNvSpPr>
            <p:nvPr/>
          </p:nvSpPr>
          <p:spPr bwMode="auto">
            <a:xfrm>
              <a:off x="7453610" y="7310209"/>
              <a:ext cx="9893838" cy="2108381"/>
            </a:xfrm>
            <a:custGeom>
              <a:avLst/>
              <a:gdLst>
                <a:gd name="T0" fmla="*/ 15146 w 15147"/>
                <a:gd name="T1" fmla="*/ 0 h 3230"/>
                <a:gd name="T2" fmla="*/ 0 w 15147"/>
                <a:gd name="T3" fmla="*/ 0 h 3230"/>
                <a:gd name="T4" fmla="*/ 0 w 15147"/>
                <a:gd name="T5" fmla="*/ 3229 h 3230"/>
                <a:gd name="T6" fmla="*/ 15146 w 15147"/>
                <a:gd name="T7" fmla="*/ 3229 h 3230"/>
                <a:gd name="T8" fmla="*/ 15146 w 15147"/>
                <a:gd name="T9" fmla="*/ 0 h 3230"/>
              </a:gdLst>
              <a:ahLst/>
              <a:cxnLst>
                <a:cxn ang="0">
                  <a:pos x="T0" y="T1"/>
                </a:cxn>
                <a:cxn ang="0">
                  <a:pos x="T2" y="T3"/>
                </a:cxn>
                <a:cxn ang="0">
                  <a:pos x="T4" y="T5"/>
                </a:cxn>
                <a:cxn ang="0">
                  <a:pos x="T6" y="T7"/>
                </a:cxn>
                <a:cxn ang="0">
                  <a:pos x="T8" y="T9"/>
                </a:cxn>
              </a:cxnLst>
              <a:rect l="0" t="0" r="r" b="b"/>
              <a:pathLst>
                <a:path w="15147" h="3230">
                  <a:moveTo>
                    <a:pt x="15146" y="0"/>
                  </a:moveTo>
                  <a:lnTo>
                    <a:pt x="0" y="0"/>
                  </a:lnTo>
                  <a:lnTo>
                    <a:pt x="0" y="3229"/>
                  </a:lnTo>
                  <a:lnTo>
                    <a:pt x="15146" y="3229"/>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075" name="Freeform 3">
              <a:extLst>
                <a:ext uri="{FF2B5EF4-FFF2-40B4-BE49-F238E27FC236}">
                  <a16:creationId xmlns:a16="http://schemas.microsoft.com/office/drawing/2014/main" id="{ACA12FB9-8BA4-EB42-834F-AF577C3B9584}"/>
                </a:ext>
              </a:extLst>
            </p:cNvPr>
            <p:cNvSpPr>
              <a:spLocks noChangeArrowheads="1"/>
            </p:cNvSpPr>
            <p:nvPr/>
          </p:nvSpPr>
          <p:spPr bwMode="auto">
            <a:xfrm>
              <a:off x="7344158" y="7200757"/>
              <a:ext cx="10112741" cy="2330166"/>
            </a:xfrm>
            <a:custGeom>
              <a:avLst/>
              <a:gdLst>
                <a:gd name="T0" fmla="*/ 15315 w 15484"/>
                <a:gd name="T1" fmla="*/ 3567 h 3568"/>
                <a:gd name="T2" fmla="*/ 15315 w 15484"/>
                <a:gd name="T3" fmla="*/ 3567 h 3568"/>
                <a:gd name="T4" fmla="*/ 15483 w 15484"/>
                <a:gd name="T5" fmla="*/ 3398 h 3568"/>
                <a:gd name="T6" fmla="*/ 15483 w 15484"/>
                <a:gd name="T7" fmla="*/ 169 h 3568"/>
                <a:gd name="T8" fmla="*/ 15483 w 15484"/>
                <a:gd name="T9" fmla="*/ 169 h 3568"/>
                <a:gd name="T10" fmla="*/ 15315 w 15484"/>
                <a:gd name="T11" fmla="*/ 0 h 3568"/>
                <a:gd name="T12" fmla="*/ 169 w 15484"/>
                <a:gd name="T13" fmla="*/ 0 h 3568"/>
                <a:gd name="T14" fmla="*/ 169 w 15484"/>
                <a:gd name="T15" fmla="*/ 0 h 3568"/>
                <a:gd name="T16" fmla="*/ 0 w 15484"/>
                <a:gd name="T17" fmla="*/ 169 h 3568"/>
                <a:gd name="T18" fmla="*/ 0 w 15484"/>
                <a:gd name="T19" fmla="*/ 3398 h 3568"/>
                <a:gd name="T20" fmla="*/ 0 w 15484"/>
                <a:gd name="T21" fmla="*/ 3398 h 3568"/>
                <a:gd name="T22" fmla="*/ 169 w 15484"/>
                <a:gd name="T23" fmla="*/ 3567 h 3568"/>
                <a:gd name="T24" fmla="*/ 15315 w 15484"/>
                <a:gd name="T25" fmla="*/ 3567 h 3568"/>
                <a:gd name="T26" fmla="*/ 15315 w 15484"/>
                <a:gd name="T27" fmla="*/ 3398 h 3568"/>
                <a:gd name="T28" fmla="*/ 169 w 15484"/>
                <a:gd name="T29" fmla="*/ 3398 h 3568"/>
                <a:gd name="T30" fmla="*/ 169 w 15484"/>
                <a:gd name="T31" fmla="*/ 169 h 3568"/>
                <a:gd name="T32" fmla="*/ 15315 w 15484"/>
                <a:gd name="T33" fmla="*/ 169 h 3568"/>
                <a:gd name="T34" fmla="*/ 15315 w 15484"/>
                <a:gd name="T35" fmla="*/ 3398 h 3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8">
                  <a:moveTo>
                    <a:pt x="15315" y="3567"/>
                  </a:moveTo>
                  <a:lnTo>
                    <a:pt x="15315" y="3567"/>
                  </a:lnTo>
                  <a:cubicBezTo>
                    <a:pt x="15407" y="3567"/>
                    <a:pt x="15483" y="3492"/>
                    <a:pt x="15483" y="3398"/>
                  </a:cubicBezTo>
                  <a:lnTo>
                    <a:pt x="15483" y="169"/>
                  </a:lnTo>
                  <a:lnTo>
                    <a:pt x="15483" y="169"/>
                  </a:lnTo>
                  <a:cubicBezTo>
                    <a:pt x="15483" y="75"/>
                    <a:pt x="15407" y="0"/>
                    <a:pt x="15315" y="0"/>
                  </a:cubicBezTo>
                  <a:lnTo>
                    <a:pt x="169" y="0"/>
                  </a:lnTo>
                  <a:lnTo>
                    <a:pt x="169" y="0"/>
                  </a:lnTo>
                  <a:cubicBezTo>
                    <a:pt x="76" y="0"/>
                    <a:pt x="0" y="75"/>
                    <a:pt x="0" y="169"/>
                  </a:cubicBezTo>
                  <a:lnTo>
                    <a:pt x="0" y="3398"/>
                  </a:lnTo>
                  <a:lnTo>
                    <a:pt x="0" y="3398"/>
                  </a:lnTo>
                  <a:cubicBezTo>
                    <a:pt x="0" y="3492"/>
                    <a:pt x="76" y="3567"/>
                    <a:pt x="169" y="3567"/>
                  </a:cubicBezTo>
                  <a:lnTo>
                    <a:pt x="15315" y="3567"/>
                  </a:lnTo>
                  <a:close/>
                  <a:moveTo>
                    <a:pt x="15315" y="3398"/>
                  </a:moveTo>
                  <a:lnTo>
                    <a:pt x="169" y="3398"/>
                  </a:lnTo>
                  <a:lnTo>
                    <a:pt x="169" y="169"/>
                  </a:lnTo>
                  <a:lnTo>
                    <a:pt x="15315" y="169"/>
                  </a:lnTo>
                  <a:lnTo>
                    <a:pt x="15315" y="3398"/>
                  </a:lnTo>
                  <a:close/>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sp>
          <p:nvSpPr>
            <p:cNvPr id="3076" name="Freeform 4">
              <a:extLst>
                <a:ext uri="{FF2B5EF4-FFF2-40B4-BE49-F238E27FC236}">
                  <a16:creationId xmlns:a16="http://schemas.microsoft.com/office/drawing/2014/main" id="{1F5BACBB-3762-4141-8974-318E7F4CC385}"/>
                </a:ext>
              </a:extLst>
            </p:cNvPr>
            <p:cNvSpPr>
              <a:spLocks noChangeArrowheads="1"/>
            </p:cNvSpPr>
            <p:nvPr/>
          </p:nvSpPr>
          <p:spPr bwMode="auto">
            <a:xfrm>
              <a:off x="7776204" y="7629924"/>
              <a:ext cx="1022506" cy="2122782"/>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2"/>
            </a:solidFill>
            <a:ln>
              <a:noFill/>
            </a:ln>
            <a:effectLst/>
          </p:spPr>
          <p:txBody>
            <a:bodyPr wrap="none" anchor="ctr"/>
            <a:lstStyle/>
            <a:p>
              <a:endParaRPr lang="en-US" sz="3266" dirty="0">
                <a:latin typeface="Lato Light" panose="020F0502020204030203" pitchFamily="34" charset="0"/>
              </a:endParaRPr>
            </a:p>
          </p:txBody>
        </p:sp>
      </p:grpSp>
      <p:grpSp>
        <p:nvGrpSpPr>
          <p:cNvPr id="3" name="Group 2">
            <a:extLst>
              <a:ext uri="{FF2B5EF4-FFF2-40B4-BE49-F238E27FC236}">
                <a16:creationId xmlns:a16="http://schemas.microsoft.com/office/drawing/2014/main" id="{231B52EC-0F35-3E46-B9E2-3188F8467E95}"/>
              </a:ext>
            </a:extLst>
          </p:cNvPr>
          <p:cNvGrpSpPr/>
          <p:nvPr/>
        </p:nvGrpSpPr>
        <p:grpSpPr>
          <a:xfrm>
            <a:off x="714498" y="1293873"/>
            <a:ext cx="5056371" cy="1275975"/>
            <a:chOff x="7344158" y="4294533"/>
            <a:chExt cx="10112741" cy="2551949"/>
          </a:xfrm>
        </p:grpSpPr>
        <p:sp>
          <p:nvSpPr>
            <p:cNvPr id="3077" name="Freeform 5">
              <a:extLst>
                <a:ext uri="{FF2B5EF4-FFF2-40B4-BE49-F238E27FC236}">
                  <a16:creationId xmlns:a16="http://schemas.microsoft.com/office/drawing/2014/main" id="{9FF7FAD2-6E67-664F-83B7-6C75FE25AD78}"/>
                </a:ext>
              </a:extLst>
            </p:cNvPr>
            <p:cNvSpPr>
              <a:spLocks noChangeArrowheads="1"/>
            </p:cNvSpPr>
            <p:nvPr/>
          </p:nvSpPr>
          <p:spPr bwMode="auto">
            <a:xfrm>
              <a:off x="7491053" y="6345309"/>
              <a:ext cx="1595688" cy="501173"/>
            </a:xfrm>
            <a:custGeom>
              <a:avLst/>
              <a:gdLst>
                <a:gd name="T0" fmla="*/ 439 w 2443"/>
                <a:gd name="T1" fmla="*/ 765 h 766"/>
                <a:gd name="T2" fmla="*/ 0 w 2443"/>
                <a:gd name="T3" fmla="*/ 0 h 766"/>
                <a:gd name="T4" fmla="*/ 2442 w 2443"/>
                <a:gd name="T5" fmla="*/ 0 h 766"/>
                <a:gd name="T6" fmla="*/ 2004 w 2443"/>
                <a:gd name="T7" fmla="*/ 765 h 766"/>
                <a:gd name="T8" fmla="*/ 439 w 2443"/>
                <a:gd name="T9" fmla="*/ 765 h 766"/>
              </a:gdLst>
              <a:ahLst/>
              <a:cxnLst>
                <a:cxn ang="0">
                  <a:pos x="T0" y="T1"/>
                </a:cxn>
                <a:cxn ang="0">
                  <a:pos x="T2" y="T3"/>
                </a:cxn>
                <a:cxn ang="0">
                  <a:pos x="T4" y="T5"/>
                </a:cxn>
                <a:cxn ang="0">
                  <a:pos x="T6" y="T7"/>
                </a:cxn>
                <a:cxn ang="0">
                  <a:pos x="T8" y="T9"/>
                </a:cxn>
              </a:cxnLst>
              <a:rect l="0" t="0" r="r" b="b"/>
              <a:pathLst>
                <a:path w="2443" h="766">
                  <a:moveTo>
                    <a:pt x="439" y="765"/>
                  </a:moveTo>
                  <a:lnTo>
                    <a:pt x="0" y="0"/>
                  </a:lnTo>
                  <a:lnTo>
                    <a:pt x="2442" y="0"/>
                  </a:lnTo>
                  <a:lnTo>
                    <a:pt x="2004" y="765"/>
                  </a:lnTo>
                  <a:lnTo>
                    <a:pt x="439" y="765"/>
                  </a:lnTo>
                </a:path>
              </a:pathLst>
            </a:custGeom>
            <a:solidFill>
              <a:schemeClr val="accent1">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3078" name="Freeform 6">
              <a:extLst>
                <a:ext uri="{FF2B5EF4-FFF2-40B4-BE49-F238E27FC236}">
                  <a16:creationId xmlns:a16="http://schemas.microsoft.com/office/drawing/2014/main" id="{3AA7EAB9-9051-4F48-84FF-112C14DE221D}"/>
                </a:ext>
              </a:extLst>
            </p:cNvPr>
            <p:cNvSpPr>
              <a:spLocks noChangeArrowheads="1"/>
            </p:cNvSpPr>
            <p:nvPr/>
          </p:nvSpPr>
          <p:spPr bwMode="auto">
            <a:xfrm>
              <a:off x="7453610" y="4403985"/>
              <a:ext cx="9893838" cy="2111261"/>
            </a:xfrm>
            <a:custGeom>
              <a:avLst/>
              <a:gdLst>
                <a:gd name="T0" fmla="*/ 15146 w 15147"/>
                <a:gd name="T1" fmla="*/ 0 h 3231"/>
                <a:gd name="T2" fmla="*/ 0 w 15147"/>
                <a:gd name="T3" fmla="*/ 0 h 3231"/>
                <a:gd name="T4" fmla="*/ 0 w 15147"/>
                <a:gd name="T5" fmla="*/ 3230 h 3231"/>
                <a:gd name="T6" fmla="*/ 15146 w 15147"/>
                <a:gd name="T7" fmla="*/ 3230 h 3231"/>
                <a:gd name="T8" fmla="*/ 15146 w 15147"/>
                <a:gd name="T9" fmla="*/ 0 h 3231"/>
              </a:gdLst>
              <a:ahLst/>
              <a:cxnLst>
                <a:cxn ang="0">
                  <a:pos x="T0" y="T1"/>
                </a:cxn>
                <a:cxn ang="0">
                  <a:pos x="T2" y="T3"/>
                </a:cxn>
                <a:cxn ang="0">
                  <a:pos x="T4" y="T5"/>
                </a:cxn>
                <a:cxn ang="0">
                  <a:pos x="T6" y="T7"/>
                </a:cxn>
                <a:cxn ang="0">
                  <a:pos x="T8" y="T9"/>
                </a:cxn>
              </a:cxnLst>
              <a:rect l="0" t="0" r="r" b="b"/>
              <a:pathLst>
                <a:path w="15147" h="3231">
                  <a:moveTo>
                    <a:pt x="15146" y="0"/>
                  </a:moveTo>
                  <a:lnTo>
                    <a:pt x="0" y="0"/>
                  </a:lnTo>
                  <a:lnTo>
                    <a:pt x="0" y="3230"/>
                  </a:lnTo>
                  <a:lnTo>
                    <a:pt x="15146" y="3230"/>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079" name="Freeform 7">
              <a:extLst>
                <a:ext uri="{FF2B5EF4-FFF2-40B4-BE49-F238E27FC236}">
                  <a16:creationId xmlns:a16="http://schemas.microsoft.com/office/drawing/2014/main" id="{9B3B8AB8-A307-6D4E-8164-AFDD76294A7C}"/>
                </a:ext>
              </a:extLst>
            </p:cNvPr>
            <p:cNvSpPr>
              <a:spLocks noChangeArrowheads="1"/>
            </p:cNvSpPr>
            <p:nvPr/>
          </p:nvSpPr>
          <p:spPr bwMode="auto">
            <a:xfrm>
              <a:off x="7344158" y="4294533"/>
              <a:ext cx="10112741" cy="2330164"/>
            </a:xfrm>
            <a:custGeom>
              <a:avLst/>
              <a:gdLst>
                <a:gd name="T0" fmla="*/ 15315 w 15484"/>
                <a:gd name="T1" fmla="*/ 3568 h 3569"/>
                <a:gd name="T2" fmla="*/ 15315 w 15484"/>
                <a:gd name="T3" fmla="*/ 3568 h 3569"/>
                <a:gd name="T4" fmla="*/ 15483 w 15484"/>
                <a:gd name="T5" fmla="*/ 3399 h 3569"/>
                <a:gd name="T6" fmla="*/ 15483 w 15484"/>
                <a:gd name="T7" fmla="*/ 169 h 3569"/>
                <a:gd name="T8" fmla="*/ 15483 w 15484"/>
                <a:gd name="T9" fmla="*/ 169 h 3569"/>
                <a:gd name="T10" fmla="*/ 15315 w 15484"/>
                <a:gd name="T11" fmla="*/ 0 h 3569"/>
                <a:gd name="T12" fmla="*/ 169 w 15484"/>
                <a:gd name="T13" fmla="*/ 0 h 3569"/>
                <a:gd name="T14" fmla="*/ 169 w 15484"/>
                <a:gd name="T15" fmla="*/ 0 h 3569"/>
                <a:gd name="T16" fmla="*/ 0 w 15484"/>
                <a:gd name="T17" fmla="*/ 169 h 3569"/>
                <a:gd name="T18" fmla="*/ 0 w 15484"/>
                <a:gd name="T19" fmla="*/ 3399 h 3569"/>
                <a:gd name="T20" fmla="*/ 0 w 15484"/>
                <a:gd name="T21" fmla="*/ 3399 h 3569"/>
                <a:gd name="T22" fmla="*/ 169 w 15484"/>
                <a:gd name="T23" fmla="*/ 3568 h 3569"/>
                <a:gd name="T24" fmla="*/ 15315 w 15484"/>
                <a:gd name="T25" fmla="*/ 3568 h 3569"/>
                <a:gd name="T26" fmla="*/ 15315 w 15484"/>
                <a:gd name="T27" fmla="*/ 3399 h 3569"/>
                <a:gd name="T28" fmla="*/ 169 w 15484"/>
                <a:gd name="T29" fmla="*/ 3399 h 3569"/>
                <a:gd name="T30" fmla="*/ 169 w 15484"/>
                <a:gd name="T31" fmla="*/ 169 h 3569"/>
                <a:gd name="T32" fmla="*/ 15315 w 15484"/>
                <a:gd name="T33" fmla="*/ 169 h 3569"/>
                <a:gd name="T34" fmla="*/ 15315 w 15484"/>
                <a:gd name="T35" fmla="*/ 3399 h 3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9">
                  <a:moveTo>
                    <a:pt x="15315" y="3568"/>
                  </a:moveTo>
                  <a:lnTo>
                    <a:pt x="15315" y="3568"/>
                  </a:lnTo>
                  <a:cubicBezTo>
                    <a:pt x="15407" y="3568"/>
                    <a:pt x="15483" y="3492"/>
                    <a:pt x="15483" y="3399"/>
                  </a:cubicBezTo>
                  <a:lnTo>
                    <a:pt x="15483" y="169"/>
                  </a:lnTo>
                  <a:lnTo>
                    <a:pt x="15483" y="169"/>
                  </a:lnTo>
                  <a:cubicBezTo>
                    <a:pt x="15483" y="76"/>
                    <a:pt x="15407" y="0"/>
                    <a:pt x="15315" y="0"/>
                  </a:cubicBezTo>
                  <a:lnTo>
                    <a:pt x="169" y="0"/>
                  </a:lnTo>
                  <a:lnTo>
                    <a:pt x="169" y="0"/>
                  </a:lnTo>
                  <a:cubicBezTo>
                    <a:pt x="76" y="0"/>
                    <a:pt x="0" y="76"/>
                    <a:pt x="0" y="169"/>
                  </a:cubicBezTo>
                  <a:lnTo>
                    <a:pt x="0" y="3399"/>
                  </a:lnTo>
                  <a:lnTo>
                    <a:pt x="0" y="3399"/>
                  </a:lnTo>
                  <a:cubicBezTo>
                    <a:pt x="0" y="3492"/>
                    <a:pt x="76" y="3568"/>
                    <a:pt x="169" y="3568"/>
                  </a:cubicBezTo>
                  <a:lnTo>
                    <a:pt x="15315" y="3568"/>
                  </a:lnTo>
                  <a:close/>
                  <a:moveTo>
                    <a:pt x="15315" y="3399"/>
                  </a:moveTo>
                  <a:lnTo>
                    <a:pt x="169" y="3399"/>
                  </a:lnTo>
                  <a:lnTo>
                    <a:pt x="169" y="169"/>
                  </a:lnTo>
                  <a:lnTo>
                    <a:pt x="15315" y="169"/>
                  </a:lnTo>
                  <a:lnTo>
                    <a:pt x="15315" y="3399"/>
                  </a:lnTo>
                  <a:close/>
                </a:path>
              </a:pathLst>
            </a:custGeom>
            <a:solidFill>
              <a:schemeClr val="accent1"/>
            </a:solidFill>
            <a:ln>
              <a:noFill/>
            </a:ln>
            <a:effectLst/>
          </p:spPr>
          <p:txBody>
            <a:bodyPr wrap="none" anchor="ctr"/>
            <a:lstStyle/>
            <a:p>
              <a:endParaRPr lang="en-US" sz="3266" dirty="0">
                <a:latin typeface="Lato Light" panose="020F0502020204030203" pitchFamily="34" charset="0"/>
              </a:endParaRPr>
            </a:p>
          </p:txBody>
        </p:sp>
        <p:sp>
          <p:nvSpPr>
            <p:cNvPr id="3080" name="Freeform 8">
              <a:extLst>
                <a:ext uri="{FF2B5EF4-FFF2-40B4-BE49-F238E27FC236}">
                  <a16:creationId xmlns:a16="http://schemas.microsoft.com/office/drawing/2014/main" id="{3A8F2736-34B0-0340-83AB-AB0D36B67C3D}"/>
                </a:ext>
              </a:extLst>
            </p:cNvPr>
            <p:cNvSpPr>
              <a:spLocks noChangeArrowheads="1"/>
            </p:cNvSpPr>
            <p:nvPr/>
          </p:nvSpPr>
          <p:spPr bwMode="auto">
            <a:xfrm>
              <a:off x="7776204" y="4723697"/>
              <a:ext cx="1022506" cy="2122784"/>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1"/>
            </a:solidFill>
            <a:ln>
              <a:noFill/>
            </a:ln>
            <a:effectLst/>
          </p:spPr>
          <p:txBody>
            <a:bodyPr wrap="none" anchor="ctr"/>
            <a:lstStyle/>
            <a:p>
              <a:endParaRPr lang="en-US" sz="3266" dirty="0">
                <a:latin typeface="Lato Light" panose="020F0502020204030203" pitchFamily="34" charset="0"/>
              </a:endParaRPr>
            </a:p>
          </p:txBody>
        </p:sp>
      </p:grpSp>
      <p:grpSp>
        <p:nvGrpSpPr>
          <p:cNvPr id="14" name="Group 13">
            <a:extLst>
              <a:ext uri="{FF2B5EF4-FFF2-40B4-BE49-F238E27FC236}">
                <a16:creationId xmlns:a16="http://schemas.microsoft.com/office/drawing/2014/main" id="{C66B2E52-420B-FC42-A1CB-7BEDF6136328}"/>
              </a:ext>
            </a:extLst>
          </p:cNvPr>
          <p:cNvGrpSpPr/>
          <p:nvPr/>
        </p:nvGrpSpPr>
        <p:grpSpPr>
          <a:xfrm>
            <a:off x="714498" y="4654951"/>
            <a:ext cx="5056371" cy="1275975"/>
            <a:chOff x="7344158" y="7200757"/>
            <a:chExt cx="10112741" cy="2551949"/>
          </a:xfrm>
        </p:grpSpPr>
        <p:sp>
          <p:nvSpPr>
            <p:cNvPr id="15" name="Freeform 1">
              <a:extLst>
                <a:ext uri="{FF2B5EF4-FFF2-40B4-BE49-F238E27FC236}">
                  <a16:creationId xmlns:a16="http://schemas.microsoft.com/office/drawing/2014/main" id="{BB3D4E8A-7C8B-B745-82F4-7ACA36CD2B51}"/>
                </a:ext>
              </a:extLst>
            </p:cNvPr>
            <p:cNvSpPr>
              <a:spLocks noChangeArrowheads="1"/>
            </p:cNvSpPr>
            <p:nvPr/>
          </p:nvSpPr>
          <p:spPr bwMode="auto">
            <a:xfrm>
              <a:off x="7491053" y="9254415"/>
              <a:ext cx="1595688" cy="498291"/>
            </a:xfrm>
            <a:custGeom>
              <a:avLst/>
              <a:gdLst>
                <a:gd name="T0" fmla="*/ 439 w 2443"/>
                <a:gd name="T1" fmla="*/ 764 h 765"/>
                <a:gd name="T2" fmla="*/ 0 w 2443"/>
                <a:gd name="T3" fmla="*/ 0 h 765"/>
                <a:gd name="T4" fmla="*/ 2442 w 2443"/>
                <a:gd name="T5" fmla="*/ 0 h 765"/>
                <a:gd name="T6" fmla="*/ 2004 w 2443"/>
                <a:gd name="T7" fmla="*/ 764 h 765"/>
                <a:gd name="T8" fmla="*/ 439 w 2443"/>
                <a:gd name="T9" fmla="*/ 764 h 765"/>
              </a:gdLst>
              <a:ahLst/>
              <a:cxnLst>
                <a:cxn ang="0">
                  <a:pos x="T0" y="T1"/>
                </a:cxn>
                <a:cxn ang="0">
                  <a:pos x="T2" y="T3"/>
                </a:cxn>
                <a:cxn ang="0">
                  <a:pos x="T4" y="T5"/>
                </a:cxn>
                <a:cxn ang="0">
                  <a:pos x="T6" y="T7"/>
                </a:cxn>
                <a:cxn ang="0">
                  <a:pos x="T8" y="T9"/>
                </a:cxn>
              </a:cxnLst>
              <a:rect l="0" t="0" r="r" b="b"/>
              <a:pathLst>
                <a:path w="2443" h="765">
                  <a:moveTo>
                    <a:pt x="439" y="764"/>
                  </a:moveTo>
                  <a:lnTo>
                    <a:pt x="0" y="0"/>
                  </a:lnTo>
                  <a:lnTo>
                    <a:pt x="2442" y="0"/>
                  </a:lnTo>
                  <a:lnTo>
                    <a:pt x="2004" y="764"/>
                  </a:lnTo>
                  <a:lnTo>
                    <a:pt x="439" y="764"/>
                  </a:lnTo>
                </a:path>
              </a:pathLst>
            </a:custGeom>
            <a:solidFill>
              <a:schemeClr val="accent3">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16" name="Freeform 2">
              <a:extLst>
                <a:ext uri="{FF2B5EF4-FFF2-40B4-BE49-F238E27FC236}">
                  <a16:creationId xmlns:a16="http://schemas.microsoft.com/office/drawing/2014/main" id="{5E9AFCBE-DE90-BD43-A669-38DB7ACECF52}"/>
                </a:ext>
              </a:extLst>
            </p:cNvPr>
            <p:cNvSpPr>
              <a:spLocks noChangeArrowheads="1"/>
            </p:cNvSpPr>
            <p:nvPr/>
          </p:nvSpPr>
          <p:spPr bwMode="auto">
            <a:xfrm>
              <a:off x="7453610" y="7310209"/>
              <a:ext cx="9893838" cy="2108381"/>
            </a:xfrm>
            <a:custGeom>
              <a:avLst/>
              <a:gdLst>
                <a:gd name="T0" fmla="*/ 15146 w 15147"/>
                <a:gd name="T1" fmla="*/ 0 h 3230"/>
                <a:gd name="T2" fmla="*/ 0 w 15147"/>
                <a:gd name="T3" fmla="*/ 0 h 3230"/>
                <a:gd name="T4" fmla="*/ 0 w 15147"/>
                <a:gd name="T5" fmla="*/ 3229 h 3230"/>
                <a:gd name="T6" fmla="*/ 15146 w 15147"/>
                <a:gd name="T7" fmla="*/ 3229 h 3230"/>
                <a:gd name="T8" fmla="*/ 15146 w 15147"/>
                <a:gd name="T9" fmla="*/ 0 h 3230"/>
              </a:gdLst>
              <a:ahLst/>
              <a:cxnLst>
                <a:cxn ang="0">
                  <a:pos x="T0" y="T1"/>
                </a:cxn>
                <a:cxn ang="0">
                  <a:pos x="T2" y="T3"/>
                </a:cxn>
                <a:cxn ang="0">
                  <a:pos x="T4" y="T5"/>
                </a:cxn>
                <a:cxn ang="0">
                  <a:pos x="T6" y="T7"/>
                </a:cxn>
                <a:cxn ang="0">
                  <a:pos x="T8" y="T9"/>
                </a:cxn>
              </a:cxnLst>
              <a:rect l="0" t="0" r="r" b="b"/>
              <a:pathLst>
                <a:path w="15147" h="3230">
                  <a:moveTo>
                    <a:pt x="15146" y="0"/>
                  </a:moveTo>
                  <a:lnTo>
                    <a:pt x="0" y="0"/>
                  </a:lnTo>
                  <a:lnTo>
                    <a:pt x="0" y="3229"/>
                  </a:lnTo>
                  <a:lnTo>
                    <a:pt x="15146" y="3229"/>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17" name="Freeform 3">
              <a:extLst>
                <a:ext uri="{FF2B5EF4-FFF2-40B4-BE49-F238E27FC236}">
                  <a16:creationId xmlns:a16="http://schemas.microsoft.com/office/drawing/2014/main" id="{A983084F-5833-9944-85DA-3B22AD2B2559}"/>
                </a:ext>
              </a:extLst>
            </p:cNvPr>
            <p:cNvSpPr>
              <a:spLocks noChangeArrowheads="1"/>
            </p:cNvSpPr>
            <p:nvPr/>
          </p:nvSpPr>
          <p:spPr bwMode="auto">
            <a:xfrm>
              <a:off x="7344158" y="7200757"/>
              <a:ext cx="10112741" cy="2330166"/>
            </a:xfrm>
            <a:custGeom>
              <a:avLst/>
              <a:gdLst>
                <a:gd name="T0" fmla="*/ 15315 w 15484"/>
                <a:gd name="T1" fmla="*/ 3567 h 3568"/>
                <a:gd name="T2" fmla="*/ 15315 w 15484"/>
                <a:gd name="T3" fmla="*/ 3567 h 3568"/>
                <a:gd name="T4" fmla="*/ 15483 w 15484"/>
                <a:gd name="T5" fmla="*/ 3398 h 3568"/>
                <a:gd name="T6" fmla="*/ 15483 w 15484"/>
                <a:gd name="T7" fmla="*/ 169 h 3568"/>
                <a:gd name="T8" fmla="*/ 15483 w 15484"/>
                <a:gd name="T9" fmla="*/ 169 h 3568"/>
                <a:gd name="T10" fmla="*/ 15315 w 15484"/>
                <a:gd name="T11" fmla="*/ 0 h 3568"/>
                <a:gd name="T12" fmla="*/ 169 w 15484"/>
                <a:gd name="T13" fmla="*/ 0 h 3568"/>
                <a:gd name="T14" fmla="*/ 169 w 15484"/>
                <a:gd name="T15" fmla="*/ 0 h 3568"/>
                <a:gd name="T16" fmla="*/ 0 w 15484"/>
                <a:gd name="T17" fmla="*/ 169 h 3568"/>
                <a:gd name="T18" fmla="*/ 0 w 15484"/>
                <a:gd name="T19" fmla="*/ 3398 h 3568"/>
                <a:gd name="T20" fmla="*/ 0 w 15484"/>
                <a:gd name="T21" fmla="*/ 3398 h 3568"/>
                <a:gd name="T22" fmla="*/ 169 w 15484"/>
                <a:gd name="T23" fmla="*/ 3567 h 3568"/>
                <a:gd name="T24" fmla="*/ 15315 w 15484"/>
                <a:gd name="T25" fmla="*/ 3567 h 3568"/>
                <a:gd name="T26" fmla="*/ 15315 w 15484"/>
                <a:gd name="T27" fmla="*/ 3398 h 3568"/>
                <a:gd name="T28" fmla="*/ 169 w 15484"/>
                <a:gd name="T29" fmla="*/ 3398 h 3568"/>
                <a:gd name="T30" fmla="*/ 169 w 15484"/>
                <a:gd name="T31" fmla="*/ 169 h 3568"/>
                <a:gd name="T32" fmla="*/ 15315 w 15484"/>
                <a:gd name="T33" fmla="*/ 169 h 3568"/>
                <a:gd name="T34" fmla="*/ 15315 w 15484"/>
                <a:gd name="T35" fmla="*/ 3398 h 3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8">
                  <a:moveTo>
                    <a:pt x="15315" y="3567"/>
                  </a:moveTo>
                  <a:lnTo>
                    <a:pt x="15315" y="3567"/>
                  </a:lnTo>
                  <a:cubicBezTo>
                    <a:pt x="15407" y="3567"/>
                    <a:pt x="15483" y="3492"/>
                    <a:pt x="15483" y="3398"/>
                  </a:cubicBezTo>
                  <a:lnTo>
                    <a:pt x="15483" y="169"/>
                  </a:lnTo>
                  <a:lnTo>
                    <a:pt x="15483" y="169"/>
                  </a:lnTo>
                  <a:cubicBezTo>
                    <a:pt x="15483" y="75"/>
                    <a:pt x="15407" y="0"/>
                    <a:pt x="15315" y="0"/>
                  </a:cubicBezTo>
                  <a:lnTo>
                    <a:pt x="169" y="0"/>
                  </a:lnTo>
                  <a:lnTo>
                    <a:pt x="169" y="0"/>
                  </a:lnTo>
                  <a:cubicBezTo>
                    <a:pt x="76" y="0"/>
                    <a:pt x="0" y="75"/>
                    <a:pt x="0" y="169"/>
                  </a:cubicBezTo>
                  <a:lnTo>
                    <a:pt x="0" y="3398"/>
                  </a:lnTo>
                  <a:lnTo>
                    <a:pt x="0" y="3398"/>
                  </a:lnTo>
                  <a:cubicBezTo>
                    <a:pt x="0" y="3492"/>
                    <a:pt x="76" y="3567"/>
                    <a:pt x="169" y="3567"/>
                  </a:cubicBezTo>
                  <a:lnTo>
                    <a:pt x="15315" y="3567"/>
                  </a:lnTo>
                  <a:close/>
                  <a:moveTo>
                    <a:pt x="15315" y="3398"/>
                  </a:moveTo>
                  <a:lnTo>
                    <a:pt x="169" y="3398"/>
                  </a:lnTo>
                  <a:lnTo>
                    <a:pt x="169" y="169"/>
                  </a:lnTo>
                  <a:lnTo>
                    <a:pt x="15315" y="169"/>
                  </a:lnTo>
                  <a:lnTo>
                    <a:pt x="15315" y="3398"/>
                  </a:lnTo>
                  <a:close/>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sp>
          <p:nvSpPr>
            <p:cNvPr id="18" name="Freeform 4">
              <a:extLst>
                <a:ext uri="{FF2B5EF4-FFF2-40B4-BE49-F238E27FC236}">
                  <a16:creationId xmlns:a16="http://schemas.microsoft.com/office/drawing/2014/main" id="{3302533E-6634-DA4E-8723-ADA1BE8B04CF}"/>
                </a:ext>
              </a:extLst>
            </p:cNvPr>
            <p:cNvSpPr>
              <a:spLocks noChangeArrowheads="1"/>
            </p:cNvSpPr>
            <p:nvPr/>
          </p:nvSpPr>
          <p:spPr bwMode="auto">
            <a:xfrm>
              <a:off x="7776204" y="7629924"/>
              <a:ext cx="1022506" cy="2122782"/>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3"/>
            </a:solidFill>
            <a:ln>
              <a:noFill/>
            </a:ln>
            <a:effectLst/>
          </p:spPr>
          <p:txBody>
            <a:bodyPr wrap="none" anchor="ctr"/>
            <a:lstStyle/>
            <a:p>
              <a:endParaRPr lang="en-US" sz="3266" dirty="0">
                <a:latin typeface="Lato Light" panose="020F0502020204030203" pitchFamily="34" charset="0"/>
              </a:endParaRPr>
            </a:p>
          </p:txBody>
        </p:sp>
      </p:grpSp>
      <p:grpSp>
        <p:nvGrpSpPr>
          <p:cNvPr id="19" name="Group 18">
            <a:extLst>
              <a:ext uri="{FF2B5EF4-FFF2-40B4-BE49-F238E27FC236}">
                <a16:creationId xmlns:a16="http://schemas.microsoft.com/office/drawing/2014/main" id="{D6BD712C-39F2-4644-8EF6-9BB151385DE8}"/>
              </a:ext>
            </a:extLst>
          </p:cNvPr>
          <p:cNvGrpSpPr/>
          <p:nvPr/>
        </p:nvGrpSpPr>
        <p:grpSpPr>
          <a:xfrm>
            <a:off x="6326128" y="2972854"/>
            <a:ext cx="5056371" cy="1275975"/>
            <a:chOff x="7344158" y="7200757"/>
            <a:chExt cx="10112741" cy="2551949"/>
          </a:xfrm>
        </p:grpSpPr>
        <p:sp>
          <p:nvSpPr>
            <p:cNvPr id="20" name="Freeform 1">
              <a:extLst>
                <a:ext uri="{FF2B5EF4-FFF2-40B4-BE49-F238E27FC236}">
                  <a16:creationId xmlns:a16="http://schemas.microsoft.com/office/drawing/2014/main" id="{4109E74D-BF28-D542-9A61-84DE63BF6B63}"/>
                </a:ext>
              </a:extLst>
            </p:cNvPr>
            <p:cNvSpPr>
              <a:spLocks noChangeArrowheads="1"/>
            </p:cNvSpPr>
            <p:nvPr/>
          </p:nvSpPr>
          <p:spPr bwMode="auto">
            <a:xfrm>
              <a:off x="7491053" y="9254415"/>
              <a:ext cx="1595688" cy="498291"/>
            </a:xfrm>
            <a:custGeom>
              <a:avLst/>
              <a:gdLst>
                <a:gd name="T0" fmla="*/ 439 w 2443"/>
                <a:gd name="T1" fmla="*/ 764 h 765"/>
                <a:gd name="T2" fmla="*/ 0 w 2443"/>
                <a:gd name="T3" fmla="*/ 0 h 765"/>
                <a:gd name="T4" fmla="*/ 2442 w 2443"/>
                <a:gd name="T5" fmla="*/ 0 h 765"/>
                <a:gd name="T6" fmla="*/ 2004 w 2443"/>
                <a:gd name="T7" fmla="*/ 764 h 765"/>
                <a:gd name="T8" fmla="*/ 439 w 2443"/>
                <a:gd name="T9" fmla="*/ 764 h 765"/>
              </a:gdLst>
              <a:ahLst/>
              <a:cxnLst>
                <a:cxn ang="0">
                  <a:pos x="T0" y="T1"/>
                </a:cxn>
                <a:cxn ang="0">
                  <a:pos x="T2" y="T3"/>
                </a:cxn>
                <a:cxn ang="0">
                  <a:pos x="T4" y="T5"/>
                </a:cxn>
                <a:cxn ang="0">
                  <a:pos x="T6" y="T7"/>
                </a:cxn>
                <a:cxn ang="0">
                  <a:pos x="T8" y="T9"/>
                </a:cxn>
              </a:cxnLst>
              <a:rect l="0" t="0" r="r" b="b"/>
              <a:pathLst>
                <a:path w="2443" h="765">
                  <a:moveTo>
                    <a:pt x="439" y="764"/>
                  </a:moveTo>
                  <a:lnTo>
                    <a:pt x="0" y="0"/>
                  </a:lnTo>
                  <a:lnTo>
                    <a:pt x="2442" y="0"/>
                  </a:lnTo>
                  <a:lnTo>
                    <a:pt x="2004" y="764"/>
                  </a:lnTo>
                  <a:lnTo>
                    <a:pt x="439" y="764"/>
                  </a:lnTo>
                </a:path>
              </a:pathLst>
            </a:custGeom>
            <a:solidFill>
              <a:schemeClr val="accent5">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21" name="Freeform 2">
              <a:extLst>
                <a:ext uri="{FF2B5EF4-FFF2-40B4-BE49-F238E27FC236}">
                  <a16:creationId xmlns:a16="http://schemas.microsoft.com/office/drawing/2014/main" id="{E8F191C5-609F-D34E-826A-4EA844F4DD5D}"/>
                </a:ext>
              </a:extLst>
            </p:cNvPr>
            <p:cNvSpPr>
              <a:spLocks noChangeArrowheads="1"/>
            </p:cNvSpPr>
            <p:nvPr/>
          </p:nvSpPr>
          <p:spPr bwMode="auto">
            <a:xfrm>
              <a:off x="7453610" y="7310209"/>
              <a:ext cx="9893838" cy="2108381"/>
            </a:xfrm>
            <a:custGeom>
              <a:avLst/>
              <a:gdLst>
                <a:gd name="T0" fmla="*/ 15146 w 15147"/>
                <a:gd name="T1" fmla="*/ 0 h 3230"/>
                <a:gd name="T2" fmla="*/ 0 w 15147"/>
                <a:gd name="T3" fmla="*/ 0 h 3230"/>
                <a:gd name="T4" fmla="*/ 0 w 15147"/>
                <a:gd name="T5" fmla="*/ 3229 h 3230"/>
                <a:gd name="T6" fmla="*/ 15146 w 15147"/>
                <a:gd name="T7" fmla="*/ 3229 h 3230"/>
                <a:gd name="T8" fmla="*/ 15146 w 15147"/>
                <a:gd name="T9" fmla="*/ 0 h 3230"/>
              </a:gdLst>
              <a:ahLst/>
              <a:cxnLst>
                <a:cxn ang="0">
                  <a:pos x="T0" y="T1"/>
                </a:cxn>
                <a:cxn ang="0">
                  <a:pos x="T2" y="T3"/>
                </a:cxn>
                <a:cxn ang="0">
                  <a:pos x="T4" y="T5"/>
                </a:cxn>
                <a:cxn ang="0">
                  <a:pos x="T6" y="T7"/>
                </a:cxn>
                <a:cxn ang="0">
                  <a:pos x="T8" y="T9"/>
                </a:cxn>
              </a:cxnLst>
              <a:rect l="0" t="0" r="r" b="b"/>
              <a:pathLst>
                <a:path w="15147" h="3230">
                  <a:moveTo>
                    <a:pt x="15146" y="0"/>
                  </a:moveTo>
                  <a:lnTo>
                    <a:pt x="0" y="0"/>
                  </a:lnTo>
                  <a:lnTo>
                    <a:pt x="0" y="3229"/>
                  </a:lnTo>
                  <a:lnTo>
                    <a:pt x="15146" y="3229"/>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22" name="Freeform 3">
              <a:extLst>
                <a:ext uri="{FF2B5EF4-FFF2-40B4-BE49-F238E27FC236}">
                  <a16:creationId xmlns:a16="http://schemas.microsoft.com/office/drawing/2014/main" id="{3B8341E5-D705-DB4D-A284-ED10EB2A76B9}"/>
                </a:ext>
              </a:extLst>
            </p:cNvPr>
            <p:cNvSpPr>
              <a:spLocks noChangeArrowheads="1"/>
            </p:cNvSpPr>
            <p:nvPr/>
          </p:nvSpPr>
          <p:spPr bwMode="auto">
            <a:xfrm>
              <a:off x="7344158" y="7200757"/>
              <a:ext cx="10112741" cy="2330166"/>
            </a:xfrm>
            <a:custGeom>
              <a:avLst/>
              <a:gdLst>
                <a:gd name="T0" fmla="*/ 15315 w 15484"/>
                <a:gd name="T1" fmla="*/ 3567 h 3568"/>
                <a:gd name="T2" fmla="*/ 15315 w 15484"/>
                <a:gd name="T3" fmla="*/ 3567 h 3568"/>
                <a:gd name="T4" fmla="*/ 15483 w 15484"/>
                <a:gd name="T5" fmla="*/ 3398 h 3568"/>
                <a:gd name="T6" fmla="*/ 15483 w 15484"/>
                <a:gd name="T7" fmla="*/ 169 h 3568"/>
                <a:gd name="T8" fmla="*/ 15483 w 15484"/>
                <a:gd name="T9" fmla="*/ 169 h 3568"/>
                <a:gd name="T10" fmla="*/ 15315 w 15484"/>
                <a:gd name="T11" fmla="*/ 0 h 3568"/>
                <a:gd name="T12" fmla="*/ 169 w 15484"/>
                <a:gd name="T13" fmla="*/ 0 h 3568"/>
                <a:gd name="T14" fmla="*/ 169 w 15484"/>
                <a:gd name="T15" fmla="*/ 0 h 3568"/>
                <a:gd name="T16" fmla="*/ 0 w 15484"/>
                <a:gd name="T17" fmla="*/ 169 h 3568"/>
                <a:gd name="T18" fmla="*/ 0 w 15484"/>
                <a:gd name="T19" fmla="*/ 3398 h 3568"/>
                <a:gd name="T20" fmla="*/ 0 w 15484"/>
                <a:gd name="T21" fmla="*/ 3398 h 3568"/>
                <a:gd name="T22" fmla="*/ 169 w 15484"/>
                <a:gd name="T23" fmla="*/ 3567 h 3568"/>
                <a:gd name="T24" fmla="*/ 15315 w 15484"/>
                <a:gd name="T25" fmla="*/ 3567 h 3568"/>
                <a:gd name="T26" fmla="*/ 15315 w 15484"/>
                <a:gd name="T27" fmla="*/ 3398 h 3568"/>
                <a:gd name="T28" fmla="*/ 169 w 15484"/>
                <a:gd name="T29" fmla="*/ 3398 h 3568"/>
                <a:gd name="T30" fmla="*/ 169 w 15484"/>
                <a:gd name="T31" fmla="*/ 169 h 3568"/>
                <a:gd name="T32" fmla="*/ 15315 w 15484"/>
                <a:gd name="T33" fmla="*/ 169 h 3568"/>
                <a:gd name="T34" fmla="*/ 15315 w 15484"/>
                <a:gd name="T35" fmla="*/ 3398 h 3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8">
                  <a:moveTo>
                    <a:pt x="15315" y="3567"/>
                  </a:moveTo>
                  <a:lnTo>
                    <a:pt x="15315" y="3567"/>
                  </a:lnTo>
                  <a:cubicBezTo>
                    <a:pt x="15407" y="3567"/>
                    <a:pt x="15483" y="3492"/>
                    <a:pt x="15483" y="3398"/>
                  </a:cubicBezTo>
                  <a:lnTo>
                    <a:pt x="15483" y="169"/>
                  </a:lnTo>
                  <a:lnTo>
                    <a:pt x="15483" y="169"/>
                  </a:lnTo>
                  <a:cubicBezTo>
                    <a:pt x="15483" y="75"/>
                    <a:pt x="15407" y="0"/>
                    <a:pt x="15315" y="0"/>
                  </a:cubicBezTo>
                  <a:lnTo>
                    <a:pt x="169" y="0"/>
                  </a:lnTo>
                  <a:lnTo>
                    <a:pt x="169" y="0"/>
                  </a:lnTo>
                  <a:cubicBezTo>
                    <a:pt x="76" y="0"/>
                    <a:pt x="0" y="75"/>
                    <a:pt x="0" y="169"/>
                  </a:cubicBezTo>
                  <a:lnTo>
                    <a:pt x="0" y="3398"/>
                  </a:lnTo>
                  <a:lnTo>
                    <a:pt x="0" y="3398"/>
                  </a:lnTo>
                  <a:cubicBezTo>
                    <a:pt x="0" y="3492"/>
                    <a:pt x="76" y="3567"/>
                    <a:pt x="169" y="3567"/>
                  </a:cubicBezTo>
                  <a:lnTo>
                    <a:pt x="15315" y="3567"/>
                  </a:lnTo>
                  <a:close/>
                  <a:moveTo>
                    <a:pt x="15315" y="3398"/>
                  </a:moveTo>
                  <a:lnTo>
                    <a:pt x="169" y="3398"/>
                  </a:lnTo>
                  <a:lnTo>
                    <a:pt x="169" y="169"/>
                  </a:lnTo>
                  <a:lnTo>
                    <a:pt x="15315" y="169"/>
                  </a:lnTo>
                  <a:lnTo>
                    <a:pt x="15315" y="3398"/>
                  </a:lnTo>
                  <a:close/>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sp>
          <p:nvSpPr>
            <p:cNvPr id="23" name="Freeform 4">
              <a:extLst>
                <a:ext uri="{FF2B5EF4-FFF2-40B4-BE49-F238E27FC236}">
                  <a16:creationId xmlns:a16="http://schemas.microsoft.com/office/drawing/2014/main" id="{C18B9C2C-E204-054E-BC67-0168804B97B1}"/>
                </a:ext>
              </a:extLst>
            </p:cNvPr>
            <p:cNvSpPr>
              <a:spLocks noChangeArrowheads="1"/>
            </p:cNvSpPr>
            <p:nvPr/>
          </p:nvSpPr>
          <p:spPr bwMode="auto">
            <a:xfrm>
              <a:off x="7776204" y="7629924"/>
              <a:ext cx="1022506" cy="2122782"/>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5"/>
            </a:solidFill>
            <a:ln>
              <a:noFill/>
            </a:ln>
            <a:effectLst/>
          </p:spPr>
          <p:txBody>
            <a:bodyPr wrap="none" anchor="ctr"/>
            <a:lstStyle/>
            <a:p>
              <a:endParaRPr lang="en-US" sz="3266" dirty="0">
                <a:latin typeface="Lato Light" panose="020F0502020204030203" pitchFamily="34" charset="0"/>
              </a:endParaRPr>
            </a:p>
          </p:txBody>
        </p:sp>
      </p:grpSp>
      <p:grpSp>
        <p:nvGrpSpPr>
          <p:cNvPr id="24" name="Group 23">
            <a:extLst>
              <a:ext uri="{FF2B5EF4-FFF2-40B4-BE49-F238E27FC236}">
                <a16:creationId xmlns:a16="http://schemas.microsoft.com/office/drawing/2014/main" id="{2842D656-481B-D64C-9BC9-DF8829A5018C}"/>
              </a:ext>
            </a:extLst>
          </p:cNvPr>
          <p:cNvGrpSpPr/>
          <p:nvPr/>
        </p:nvGrpSpPr>
        <p:grpSpPr>
          <a:xfrm>
            <a:off x="6326128" y="1293873"/>
            <a:ext cx="5056371" cy="1275975"/>
            <a:chOff x="7344158" y="4294533"/>
            <a:chExt cx="10112741" cy="2551949"/>
          </a:xfrm>
        </p:grpSpPr>
        <p:sp>
          <p:nvSpPr>
            <p:cNvPr id="25" name="Freeform 5">
              <a:extLst>
                <a:ext uri="{FF2B5EF4-FFF2-40B4-BE49-F238E27FC236}">
                  <a16:creationId xmlns:a16="http://schemas.microsoft.com/office/drawing/2014/main" id="{A9D08693-D346-CC49-8074-71490BE237CF}"/>
                </a:ext>
              </a:extLst>
            </p:cNvPr>
            <p:cNvSpPr>
              <a:spLocks noChangeArrowheads="1"/>
            </p:cNvSpPr>
            <p:nvPr/>
          </p:nvSpPr>
          <p:spPr bwMode="auto">
            <a:xfrm>
              <a:off x="7491053" y="6345309"/>
              <a:ext cx="1595688" cy="501173"/>
            </a:xfrm>
            <a:custGeom>
              <a:avLst/>
              <a:gdLst>
                <a:gd name="T0" fmla="*/ 439 w 2443"/>
                <a:gd name="T1" fmla="*/ 765 h 766"/>
                <a:gd name="T2" fmla="*/ 0 w 2443"/>
                <a:gd name="T3" fmla="*/ 0 h 766"/>
                <a:gd name="T4" fmla="*/ 2442 w 2443"/>
                <a:gd name="T5" fmla="*/ 0 h 766"/>
                <a:gd name="T6" fmla="*/ 2004 w 2443"/>
                <a:gd name="T7" fmla="*/ 765 h 766"/>
                <a:gd name="T8" fmla="*/ 439 w 2443"/>
                <a:gd name="T9" fmla="*/ 765 h 766"/>
              </a:gdLst>
              <a:ahLst/>
              <a:cxnLst>
                <a:cxn ang="0">
                  <a:pos x="T0" y="T1"/>
                </a:cxn>
                <a:cxn ang="0">
                  <a:pos x="T2" y="T3"/>
                </a:cxn>
                <a:cxn ang="0">
                  <a:pos x="T4" y="T5"/>
                </a:cxn>
                <a:cxn ang="0">
                  <a:pos x="T6" y="T7"/>
                </a:cxn>
                <a:cxn ang="0">
                  <a:pos x="T8" y="T9"/>
                </a:cxn>
              </a:cxnLst>
              <a:rect l="0" t="0" r="r" b="b"/>
              <a:pathLst>
                <a:path w="2443" h="766">
                  <a:moveTo>
                    <a:pt x="439" y="765"/>
                  </a:moveTo>
                  <a:lnTo>
                    <a:pt x="0" y="0"/>
                  </a:lnTo>
                  <a:lnTo>
                    <a:pt x="2442" y="0"/>
                  </a:lnTo>
                  <a:lnTo>
                    <a:pt x="2004" y="765"/>
                  </a:lnTo>
                  <a:lnTo>
                    <a:pt x="439" y="765"/>
                  </a:lnTo>
                </a:path>
              </a:pathLst>
            </a:custGeom>
            <a:solidFill>
              <a:schemeClr val="accent4">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26" name="Freeform 6">
              <a:extLst>
                <a:ext uri="{FF2B5EF4-FFF2-40B4-BE49-F238E27FC236}">
                  <a16:creationId xmlns:a16="http://schemas.microsoft.com/office/drawing/2014/main" id="{B30EAEEF-0C11-884C-ABD2-240E3E3A7CE6}"/>
                </a:ext>
              </a:extLst>
            </p:cNvPr>
            <p:cNvSpPr>
              <a:spLocks noChangeArrowheads="1"/>
            </p:cNvSpPr>
            <p:nvPr/>
          </p:nvSpPr>
          <p:spPr bwMode="auto">
            <a:xfrm>
              <a:off x="7453610" y="4403985"/>
              <a:ext cx="9893838" cy="2111261"/>
            </a:xfrm>
            <a:custGeom>
              <a:avLst/>
              <a:gdLst>
                <a:gd name="T0" fmla="*/ 15146 w 15147"/>
                <a:gd name="T1" fmla="*/ 0 h 3231"/>
                <a:gd name="T2" fmla="*/ 0 w 15147"/>
                <a:gd name="T3" fmla="*/ 0 h 3231"/>
                <a:gd name="T4" fmla="*/ 0 w 15147"/>
                <a:gd name="T5" fmla="*/ 3230 h 3231"/>
                <a:gd name="T6" fmla="*/ 15146 w 15147"/>
                <a:gd name="T7" fmla="*/ 3230 h 3231"/>
                <a:gd name="T8" fmla="*/ 15146 w 15147"/>
                <a:gd name="T9" fmla="*/ 0 h 3231"/>
              </a:gdLst>
              <a:ahLst/>
              <a:cxnLst>
                <a:cxn ang="0">
                  <a:pos x="T0" y="T1"/>
                </a:cxn>
                <a:cxn ang="0">
                  <a:pos x="T2" y="T3"/>
                </a:cxn>
                <a:cxn ang="0">
                  <a:pos x="T4" y="T5"/>
                </a:cxn>
                <a:cxn ang="0">
                  <a:pos x="T6" y="T7"/>
                </a:cxn>
                <a:cxn ang="0">
                  <a:pos x="T8" y="T9"/>
                </a:cxn>
              </a:cxnLst>
              <a:rect l="0" t="0" r="r" b="b"/>
              <a:pathLst>
                <a:path w="15147" h="3231">
                  <a:moveTo>
                    <a:pt x="15146" y="0"/>
                  </a:moveTo>
                  <a:lnTo>
                    <a:pt x="0" y="0"/>
                  </a:lnTo>
                  <a:lnTo>
                    <a:pt x="0" y="3230"/>
                  </a:lnTo>
                  <a:lnTo>
                    <a:pt x="15146" y="3230"/>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27" name="Freeform 7">
              <a:extLst>
                <a:ext uri="{FF2B5EF4-FFF2-40B4-BE49-F238E27FC236}">
                  <a16:creationId xmlns:a16="http://schemas.microsoft.com/office/drawing/2014/main" id="{88060F17-B340-874B-9BD4-C6C244BA0416}"/>
                </a:ext>
              </a:extLst>
            </p:cNvPr>
            <p:cNvSpPr>
              <a:spLocks noChangeArrowheads="1"/>
            </p:cNvSpPr>
            <p:nvPr/>
          </p:nvSpPr>
          <p:spPr bwMode="auto">
            <a:xfrm>
              <a:off x="7344158" y="4294533"/>
              <a:ext cx="10112741" cy="2330164"/>
            </a:xfrm>
            <a:custGeom>
              <a:avLst/>
              <a:gdLst>
                <a:gd name="T0" fmla="*/ 15315 w 15484"/>
                <a:gd name="T1" fmla="*/ 3568 h 3569"/>
                <a:gd name="T2" fmla="*/ 15315 w 15484"/>
                <a:gd name="T3" fmla="*/ 3568 h 3569"/>
                <a:gd name="T4" fmla="*/ 15483 w 15484"/>
                <a:gd name="T5" fmla="*/ 3399 h 3569"/>
                <a:gd name="T6" fmla="*/ 15483 w 15484"/>
                <a:gd name="T7" fmla="*/ 169 h 3569"/>
                <a:gd name="T8" fmla="*/ 15483 w 15484"/>
                <a:gd name="T9" fmla="*/ 169 h 3569"/>
                <a:gd name="T10" fmla="*/ 15315 w 15484"/>
                <a:gd name="T11" fmla="*/ 0 h 3569"/>
                <a:gd name="T12" fmla="*/ 169 w 15484"/>
                <a:gd name="T13" fmla="*/ 0 h 3569"/>
                <a:gd name="T14" fmla="*/ 169 w 15484"/>
                <a:gd name="T15" fmla="*/ 0 h 3569"/>
                <a:gd name="T16" fmla="*/ 0 w 15484"/>
                <a:gd name="T17" fmla="*/ 169 h 3569"/>
                <a:gd name="T18" fmla="*/ 0 w 15484"/>
                <a:gd name="T19" fmla="*/ 3399 h 3569"/>
                <a:gd name="T20" fmla="*/ 0 w 15484"/>
                <a:gd name="T21" fmla="*/ 3399 h 3569"/>
                <a:gd name="T22" fmla="*/ 169 w 15484"/>
                <a:gd name="T23" fmla="*/ 3568 h 3569"/>
                <a:gd name="T24" fmla="*/ 15315 w 15484"/>
                <a:gd name="T25" fmla="*/ 3568 h 3569"/>
                <a:gd name="T26" fmla="*/ 15315 w 15484"/>
                <a:gd name="T27" fmla="*/ 3399 h 3569"/>
                <a:gd name="T28" fmla="*/ 169 w 15484"/>
                <a:gd name="T29" fmla="*/ 3399 h 3569"/>
                <a:gd name="T30" fmla="*/ 169 w 15484"/>
                <a:gd name="T31" fmla="*/ 169 h 3569"/>
                <a:gd name="T32" fmla="*/ 15315 w 15484"/>
                <a:gd name="T33" fmla="*/ 169 h 3569"/>
                <a:gd name="T34" fmla="*/ 15315 w 15484"/>
                <a:gd name="T35" fmla="*/ 3399 h 3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9">
                  <a:moveTo>
                    <a:pt x="15315" y="3568"/>
                  </a:moveTo>
                  <a:lnTo>
                    <a:pt x="15315" y="3568"/>
                  </a:lnTo>
                  <a:cubicBezTo>
                    <a:pt x="15407" y="3568"/>
                    <a:pt x="15483" y="3492"/>
                    <a:pt x="15483" y="3399"/>
                  </a:cubicBezTo>
                  <a:lnTo>
                    <a:pt x="15483" y="169"/>
                  </a:lnTo>
                  <a:lnTo>
                    <a:pt x="15483" y="169"/>
                  </a:lnTo>
                  <a:cubicBezTo>
                    <a:pt x="15483" y="76"/>
                    <a:pt x="15407" y="0"/>
                    <a:pt x="15315" y="0"/>
                  </a:cubicBezTo>
                  <a:lnTo>
                    <a:pt x="169" y="0"/>
                  </a:lnTo>
                  <a:lnTo>
                    <a:pt x="169" y="0"/>
                  </a:lnTo>
                  <a:cubicBezTo>
                    <a:pt x="76" y="0"/>
                    <a:pt x="0" y="76"/>
                    <a:pt x="0" y="169"/>
                  </a:cubicBezTo>
                  <a:lnTo>
                    <a:pt x="0" y="3399"/>
                  </a:lnTo>
                  <a:lnTo>
                    <a:pt x="0" y="3399"/>
                  </a:lnTo>
                  <a:cubicBezTo>
                    <a:pt x="0" y="3492"/>
                    <a:pt x="76" y="3568"/>
                    <a:pt x="169" y="3568"/>
                  </a:cubicBezTo>
                  <a:lnTo>
                    <a:pt x="15315" y="3568"/>
                  </a:lnTo>
                  <a:close/>
                  <a:moveTo>
                    <a:pt x="15315" y="3399"/>
                  </a:moveTo>
                  <a:lnTo>
                    <a:pt x="169" y="3399"/>
                  </a:lnTo>
                  <a:lnTo>
                    <a:pt x="169" y="169"/>
                  </a:lnTo>
                  <a:lnTo>
                    <a:pt x="15315" y="169"/>
                  </a:lnTo>
                  <a:lnTo>
                    <a:pt x="15315" y="3399"/>
                  </a:lnTo>
                  <a:close/>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sp>
          <p:nvSpPr>
            <p:cNvPr id="28" name="Freeform 8">
              <a:extLst>
                <a:ext uri="{FF2B5EF4-FFF2-40B4-BE49-F238E27FC236}">
                  <a16:creationId xmlns:a16="http://schemas.microsoft.com/office/drawing/2014/main" id="{4A6D3135-DE1B-C945-93DF-16FCD9AE5CDE}"/>
                </a:ext>
              </a:extLst>
            </p:cNvPr>
            <p:cNvSpPr>
              <a:spLocks noChangeArrowheads="1"/>
            </p:cNvSpPr>
            <p:nvPr/>
          </p:nvSpPr>
          <p:spPr bwMode="auto">
            <a:xfrm>
              <a:off x="7776204" y="4723697"/>
              <a:ext cx="1022506" cy="2122784"/>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4"/>
            </a:solidFill>
            <a:ln>
              <a:noFill/>
            </a:ln>
            <a:effectLst/>
          </p:spPr>
          <p:txBody>
            <a:bodyPr wrap="none" anchor="ctr"/>
            <a:lstStyle/>
            <a:p>
              <a:endParaRPr lang="en-US" sz="3266" dirty="0">
                <a:latin typeface="Lato Light" panose="020F0502020204030203" pitchFamily="34" charset="0"/>
              </a:endParaRPr>
            </a:p>
          </p:txBody>
        </p:sp>
      </p:grpSp>
      <p:grpSp>
        <p:nvGrpSpPr>
          <p:cNvPr id="29" name="Group 28">
            <a:extLst>
              <a:ext uri="{FF2B5EF4-FFF2-40B4-BE49-F238E27FC236}">
                <a16:creationId xmlns:a16="http://schemas.microsoft.com/office/drawing/2014/main" id="{B47A184A-8DD6-8142-9333-F87A756BF234}"/>
              </a:ext>
            </a:extLst>
          </p:cNvPr>
          <p:cNvGrpSpPr/>
          <p:nvPr/>
        </p:nvGrpSpPr>
        <p:grpSpPr>
          <a:xfrm>
            <a:off x="6326128" y="4654951"/>
            <a:ext cx="5056371" cy="1275975"/>
            <a:chOff x="7344158" y="7200757"/>
            <a:chExt cx="10112741" cy="2551949"/>
          </a:xfrm>
        </p:grpSpPr>
        <p:sp>
          <p:nvSpPr>
            <p:cNvPr id="30" name="Freeform 1">
              <a:extLst>
                <a:ext uri="{FF2B5EF4-FFF2-40B4-BE49-F238E27FC236}">
                  <a16:creationId xmlns:a16="http://schemas.microsoft.com/office/drawing/2014/main" id="{AF286CB9-E189-B445-A9D5-9DCB0FBBE98A}"/>
                </a:ext>
              </a:extLst>
            </p:cNvPr>
            <p:cNvSpPr>
              <a:spLocks noChangeArrowheads="1"/>
            </p:cNvSpPr>
            <p:nvPr/>
          </p:nvSpPr>
          <p:spPr bwMode="auto">
            <a:xfrm>
              <a:off x="7491053" y="9254415"/>
              <a:ext cx="1595688" cy="498291"/>
            </a:xfrm>
            <a:custGeom>
              <a:avLst/>
              <a:gdLst>
                <a:gd name="T0" fmla="*/ 439 w 2443"/>
                <a:gd name="T1" fmla="*/ 764 h 765"/>
                <a:gd name="T2" fmla="*/ 0 w 2443"/>
                <a:gd name="T3" fmla="*/ 0 h 765"/>
                <a:gd name="T4" fmla="*/ 2442 w 2443"/>
                <a:gd name="T5" fmla="*/ 0 h 765"/>
                <a:gd name="T6" fmla="*/ 2004 w 2443"/>
                <a:gd name="T7" fmla="*/ 764 h 765"/>
                <a:gd name="T8" fmla="*/ 439 w 2443"/>
                <a:gd name="T9" fmla="*/ 764 h 765"/>
              </a:gdLst>
              <a:ahLst/>
              <a:cxnLst>
                <a:cxn ang="0">
                  <a:pos x="T0" y="T1"/>
                </a:cxn>
                <a:cxn ang="0">
                  <a:pos x="T2" y="T3"/>
                </a:cxn>
                <a:cxn ang="0">
                  <a:pos x="T4" y="T5"/>
                </a:cxn>
                <a:cxn ang="0">
                  <a:pos x="T6" y="T7"/>
                </a:cxn>
                <a:cxn ang="0">
                  <a:pos x="T8" y="T9"/>
                </a:cxn>
              </a:cxnLst>
              <a:rect l="0" t="0" r="r" b="b"/>
              <a:pathLst>
                <a:path w="2443" h="765">
                  <a:moveTo>
                    <a:pt x="439" y="764"/>
                  </a:moveTo>
                  <a:lnTo>
                    <a:pt x="0" y="0"/>
                  </a:lnTo>
                  <a:lnTo>
                    <a:pt x="2442" y="0"/>
                  </a:lnTo>
                  <a:lnTo>
                    <a:pt x="2004" y="764"/>
                  </a:lnTo>
                  <a:lnTo>
                    <a:pt x="439" y="764"/>
                  </a:lnTo>
                </a:path>
              </a:pathLst>
            </a:custGeom>
            <a:solidFill>
              <a:schemeClr val="accent6">
                <a:lumMod val="50000"/>
              </a:schemeClr>
            </a:solidFill>
            <a:ln>
              <a:noFill/>
            </a:ln>
            <a:effectLst/>
          </p:spPr>
          <p:txBody>
            <a:bodyPr wrap="none" anchor="ctr"/>
            <a:lstStyle/>
            <a:p>
              <a:endParaRPr lang="en-US" sz="3266" dirty="0">
                <a:latin typeface="Lato Light" panose="020F0502020204030203" pitchFamily="34" charset="0"/>
              </a:endParaRPr>
            </a:p>
          </p:txBody>
        </p:sp>
        <p:sp useBgFill="1">
          <p:nvSpPr>
            <p:cNvPr id="31" name="Freeform 2">
              <a:extLst>
                <a:ext uri="{FF2B5EF4-FFF2-40B4-BE49-F238E27FC236}">
                  <a16:creationId xmlns:a16="http://schemas.microsoft.com/office/drawing/2014/main" id="{C9021A76-9A14-DD4E-BE63-DA305B198278}"/>
                </a:ext>
              </a:extLst>
            </p:cNvPr>
            <p:cNvSpPr>
              <a:spLocks noChangeArrowheads="1"/>
            </p:cNvSpPr>
            <p:nvPr/>
          </p:nvSpPr>
          <p:spPr bwMode="auto">
            <a:xfrm>
              <a:off x="7453610" y="7310209"/>
              <a:ext cx="9893838" cy="2108381"/>
            </a:xfrm>
            <a:custGeom>
              <a:avLst/>
              <a:gdLst>
                <a:gd name="T0" fmla="*/ 15146 w 15147"/>
                <a:gd name="T1" fmla="*/ 0 h 3230"/>
                <a:gd name="T2" fmla="*/ 0 w 15147"/>
                <a:gd name="T3" fmla="*/ 0 h 3230"/>
                <a:gd name="T4" fmla="*/ 0 w 15147"/>
                <a:gd name="T5" fmla="*/ 3229 h 3230"/>
                <a:gd name="T6" fmla="*/ 15146 w 15147"/>
                <a:gd name="T7" fmla="*/ 3229 h 3230"/>
                <a:gd name="T8" fmla="*/ 15146 w 15147"/>
                <a:gd name="T9" fmla="*/ 0 h 3230"/>
              </a:gdLst>
              <a:ahLst/>
              <a:cxnLst>
                <a:cxn ang="0">
                  <a:pos x="T0" y="T1"/>
                </a:cxn>
                <a:cxn ang="0">
                  <a:pos x="T2" y="T3"/>
                </a:cxn>
                <a:cxn ang="0">
                  <a:pos x="T4" y="T5"/>
                </a:cxn>
                <a:cxn ang="0">
                  <a:pos x="T6" y="T7"/>
                </a:cxn>
                <a:cxn ang="0">
                  <a:pos x="T8" y="T9"/>
                </a:cxn>
              </a:cxnLst>
              <a:rect l="0" t="0" r="r" b="b"/>
              <a:pathLst>
                <a:path w="15147" h="3230">
                  <a:moveTo>
                    <a:pt x="15146" y="0"/>
                  </a:moveTo>
                  <a:lnTo>
                    <a:pt x="0" y="0"/>
                  </a:lnTo>
                  <a:lnTo>
                    <a:pt x="0" y="3229"/>
                  </a:lnTo>
                  <a:lnTo>
                    <a:pt x="15146" y="3229"/>
                  </a:lnTo>
                  <a:lnTo>
                    <a:pt x="15146" y="0"/>
                  </a:lnTo>
                </a:path>
              </a:pathLst>
            </a:custGeom>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3266" dirty="0">
                <a:latin typeface="Lato Light" panose="020F0502020204030203" pitchFamily="34" charset="0"/>
              </a:endParaRPr>
            </a:p>
          </p:txBody>
        </p:sp>
        <p:sp>
          <p:nvSpPr>
            <p:cNvPr id="32" name="Freeform 3">
              <a:extLst>
                <a:ext uri="{FF2B5EF4-FFF2-40B4-BE49-F238E27FC236}">
                  <a16:creationId xmlns:a16="http://schemas.microsoft.com/office/drawing/2014/main" id="{53652B84-2606-8042-AC7A-412932CD9E2F}"/>
                </a:ext>
              </a:extLst>
            </p:cNvPr>
            <p:cNvSpPr>
              <a:spLocks noChangeArrowheads="1"/>
            </p:cNvSpPr>
            <p:nvPr/>
          </p:nvSpPr>
          <p:spPr bwMode="auto">
            <a:xfrm>
              <a:off x="7344158" y="7200757"/>
              <a:ext cx="10112741" cy="2330166"/>
            </a:xfrm>
            <a:custGeom>
              <a:avLst/>
              <a:gdLst>
                <a:gd name="T0" fmla="*/ 15315 w 15484"/>
                <a:gd name="T1" fmla="*/ 3567 h 3568"/>
                <a:gd name="T2" fmla="*/ 15315 w 15484"/>
                <a:gd name="T3" fmla="*/ 3567 h 3568"/>
                <a:gd name="T4" fmla="*/ 15483 w 15484"/>
                <a:gd name="T5" fmla="*/ 3398 h 3568"/>
                <a:gd name="T6" fmla="*/ 15483 w 15484"/>
                <a:gd name="T7" fmla="*/ 169 h 3568"/>
                <a:gd name="T8" fmla="*/ 15483 w 15484"/>
                <a:gd name="T9" fmla="*/ 169 h 3568"/>
                <a:gd name="T10" fmla="*/ 15315 w 15484"/>
                <a:gd name="T11" fmla="*/ 0 h 3568"/>
                <a:gd name="T12" fmla="*/ 169 w 15484"/>
                <a:gd name="T13" fmla="*/ 0 h 3568"/>
                <a:gd name="T14" fmla="*/ 169 w 15484"/>
                <a:gd name="T15" fmla="*/ 0 h 3568"/>
                <a:gd name="T16" fmla="*/ 0 w 15484"/>
                <a:gd name="T17" fmla="*/ 169 h 3568"/>
                <a:gd name="T18" fmla="*/ 0 w 15484"/>
                <a:gd name="T19" fmla="*/ 3398 h 3568"/>
                <a:gd name="T20" fmla="*/ 0 w 15484"/>
                <a:gd name="T21" fmla="*/ 3398 h 3568"/>
                <a:gd name="T22" fmla="*/ 169 w 15484"/>
                <a:gd name="T23" fmla="*/ 3567 h 3568"/>
                <a:gd name="T24" fmla="*/ 15315 w 15484"/>
                <a:gd name="T25" fmla="*/ 3567 h 3568"/>
                <a:gd name="T26" fmla="*/ 15315 w 15484"/>
                <a:gd name="T27" fmla="*/ 3398 h 3568"/>
                <a:gd name="T28" fmla="*/ 169 w 15484"/>
                <a:gd name="T29" fmla="*/ 3398 h 3568"/>
                <a:gd name="T30" fmla="*/ 169 w 15484"/>
                <a:gd name="T31" fmla="*/ 169 h 3568"/>
                <a:gd name="T32" fmla="*/ 15315 w 15484"/>
                <a:gd name="T33" fmla="*/ 169 h 3568"/>
                <a:gd name="T34" fmla="*/ 15315 w 15484"/>
                <a:gd name="T35" fmla="*/ 3398 h 3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484" h="3568">
                  <a:moveTo>
                    <a:pt x="15315" y="3567"/>
                  </a:moveTo>
                  <a:lnTo>
                    <a:pt x="15315" y="3567"/>
                  </a:lnTo>
                  <a:cubicBezTo>
                    <a:pt x="15407" y="3567"/>
                    <a:pt x="15483" y="3492"/>
                    <a:pt x="15483" y="3398"/>
                  </a:cubicBezTo>
                  <a:lnTo>
                    <a:pt x="15483" y="169"/>
                  </a:lnTo>
                  <a:lnTo>
                    <a:pt x="15483" y="169"/>
                  </a:lnTo>
                  <a:cubicBezTo>
                    <a:pt x="15483" y="75"/>
                    <a:pt x="15407" y="0"/>
                    <a:pt x="15315" y="0"/>
                  </a:cubicBezTo>
                  <a:lnTo>
                    <a:pt x="169" y="0"/>
                  </a:lnTo>
                  <a:lnTo>
                    <a:pt x="169" y="0"/>
                  </a:lnTo>
                  <a:cubicBezTo>
                    <a:pt x="76" y="0"/>
                    <a:pt x="0" y="75"/>
                    <a:pt x="0" y="169"/>
                  </a:cubicBezTo>
                  <a:lnTo>
                    <a:pt x="0" y="3398"/>
                  </a:lnTo>
                  <a:lnTo>
                    <a:pt x="0" y="3398"/>
                  </a:lnTo>
                  <a:cubicBezTo>
                    <a:pt x="0" y="3492"/>
                    <a:pt x="76" y="3567"/>
                    <a:pt x="169" y="3567"/>
                  </a:cubicBezTo>
                  <a:lnTo>
                    <a:pt x="15315" y="3567"/>
                  </a:lnTo>
                  <a:close/>
                  <a:moveTo>
                    <a:pt x="15315" y="3398"/>
                  </a:moveTo>
                  <a:lnTo>
                    <a:pt x="169" y="3398"/>
                  </a:lnTo>
                  <a:lnTo>
                    <a:pt x="169" y="169"/>
                  </a:lnTo>
                  <a:lnTo>
                    <a:pt x="15315" y="169"/>
                  </a:lnTo>
                  <a:lnTo>
                    <a:pt x="15315" y="3398"/>
                  </a:lnTo>
                  <a:close/>
                </a:path>
              </a:pathLst>
            </a:custGeom>
            <a:solidFill>
              <a:schemeClr val="accent6"/>
            </a:solidFill>
            <a:ln>
              <a:noFill/>
            </a:ln>
            <a:effectLst/>
          </p:spPr>
          <p:txBody>
            <a:bodyPr wrap="none" anchor="ctr"/>
            <a:lstStyle/>
            <a:p>
              <a:endParaRPr lang="en-US" sz="3266" dirty="0">
                <a:latin typeface="Lato Light" panose="020F0502020204030203" pitchFamily="34" charset="0"/>
              </a:endParaRPr>
            </a:p>
          </p:txBody>
        </p:sp>
        <p:sp>
          <p:nvSpPr>
            <p:cNvPr id="33" name="Freeform 4">
              <a:extLst>
                <a:ext uri="{FF2B5EF4-FFF2-40B4-BE49-F238E27FC236}">
                  <a16:creationId xmlns:a16="http://schemas.microsoft.com/office/drawing/2014/main" id="{288C92C4-B47F-AE44-92CB-D326147E3B33}"/>
                </a:ext>
              </a:extLst>
            </p:cNvPr>
            <p:cNvSpPr>
              <a:spLocks noChangeArrowheads="1"/>
            </p:cNvSpPr>
            <p:nvPr/>
          </p:nvSpPr>
          <p:spPr bwMode="auto">
            <a:xfrm>
              <a:off x="7776204" y="7629924"/>
              <a:ext cx="1022506" cy="2122782"/>
            </a:xfrm>
            <a:custGeom>
              <a:avLst/>
              <a:gdLst>
                <a:gd name="T0" fmla="*/ 1565 w 1566"/>
                <a:gd name="T1" fmla="*/ 0 h 3252"/>
                <a:gd name="T2" fmla="*/ 782 w 1566"/>
                <a:gd name="T3" fmla="*/ 781 h 3252"/>
                <a:gd name="T4" fmla="*/ 0 w 1566"/>
                <a:gd name="T5" fmla="*/ 0 h 3252"/>
                <a:gd name="T6" fmla="*/ 0 w 1566"/>
                <a:gd name="T7" fmla="*/ 3251 h 3252"/>
                <a:gd name="T8" fmla="*/ 1565 w 1566"/>
                <a:gd name="T9" fmla="*/ 3251 h 3252"/>
                <a:gd name="T10" fmla="*/ 1565 w 1566"/>
                <a:gd name="T11" fmla="*/ 0 h 3252"/>
              </a:gdLst>
              <a:ahLst/>
              <a:cxnLst>
                <a:cxn ang="0">
                  <a:pos x="T0" y="T1"/>
                </a:cxn>
                <a:cxn ang="0">
                  <a:pos x="T2" y="T3"/>
                </a:cxn>
                <a:cxn ang="0">
                  <a:pos x="T4" y="T5"/>
                </a:cxn>
                <a:cxn ang="0">
                  <a:pos x="T6" y="T7"/>
                </a:cxn>
                <a:cxn ang="0">
                  <a:pos x="T8" y="T9"/>
                </a:cxn>
                <a:cxn ang="0">
                  <a:pos x="T10" y="T11"/>
                </a:cxn>
              </a:cxnLst>
              <a:rect l="0" t="0" r="r" b="b"/>
              <a:pathLst>
                <a:path w="1566" h="3252">
                  <a:moveTo>
                    <a:pt x="1565" y="0"/>
                  </a:moveTo>
                  <a:lnTo>
                    <a:pt x="782" y="781"/>
                  </a:lnTo>
                  <a:lnTo>
                    <a:pt x="0" y="0"/>
                  </a:lnTo>
                  <a:lnTo>
                    <a:pt x="0" y="3251"/>
                  </a:lnTo>
                  <a:lnTo>
                    <a:pt x="1565" y="3251"/>
                  </a:lnTo>
                  <a:lnTo>
                    <a:pt x="1565" y="0"/>
                  </a:lnTo>
                </a:path>
              </a:pathLst>
            </a:custGeom>
            <a:solidFill>
              <a:schemeClr val="accent6"/>
            </a:solidFill>
            <a:ln>
              <a:noFill/>
            </a:ln>
            <a:effectLst/>
          </p:spPr>
          <p:txBody>
            <a:bodyPr wrap="none" anchor="ctr"/>
            <a:lstStyle/>
            <a:p>
              <a:endParaRPr lang="en-US" sz="3266" dirty="0">
                <a:latin typeface="Lato Light" panose="020F0502020204030203" pitchFamily="34" charset="0"/>
              </a:endParaRPr>
            </a:p>
          </p:txBody>
        </p:sp>
      </p:grpSp>
      <p:sp>
        <p:nvSpPr>
          <p:cNvPr id="34" name="Subtitle 2">
            <a:extLst>
              <a:ext uri="{FF2B5EF4-FFF2-40B4-BE49-F238E27FC236}">
                <a16:creationId xmlns:a16="http://schemas.microsoft.com/office/drawing/2014/main" id="{7D667F03-4691-8140-9FB0-1BEE02B567F9}"/>
              </a:ext>
            </a:extLst>
          </p:cNvPr>
          <p:cNvSpPr txBox="1">
            <a:spLocks/>
          </p:cNvSpPr>
          <p:nvPr/>
        </p:nvSpPr>
        <p:spPr>
          <a:xfrm>
            <a:off x="1959586" y="1790907"/>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Build fiber and push fiber deeper in HFC networks</a:t>
            </a:r>
          </a:p>
        </p:txBody>
      </p:sp>
      <p:sp>
        <p:nvSpPr>
          <p:cNvPr id="35" name="TextBox 34">
            <a:extLst>
              <a:ext uri="{FF2B5EF4-FFF2-40B4-BE49-F238E27FC236}">
                <a16:creationId xmlns:a16="http://schemas.microsoft.com/office/drawing/2014/main" id="{A363A6D5-4641-0247-9426-DD9EAE7743E4}"/>
              </a:ext>
            </a:extLst>
          </p:cNvPr>
          <p:cNvSpPr txBox="1"/>
          <p:nvPr/>
        </p:nvSpPr>
        <p:spPr>
          <a:xfrm>
            <a:off x="1959586" y="1472718"/>
            <a:ext cx="2646878"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GROW FIBER FOOTPRINT</a:t>
            </a:r>
          </a:p>
        </p:txBody>
      </p:sp>
      <p:sp>
        <p:nvSpPr>
          <p:cNvPr id="38" name="Subtitle 2">
            <a:extLst>
              <a:ext uri="{FF2B5EF4-FFF2-40B4-BE49-F238E27FC236}">
                <a16:creationId xmlns:a16="http://schemas.microsoft.com/office/drawing/2014/main" id="{90FCC8DF-E291-E24D-AB6C-C37643D0214A}"/>
              </a:ext>
            </a:extLst>
          </p:cNvPr>
          <p:cNvSpPr txBox="1">
            <a:spLocks/>
          </p:cNvSpPr>
          <p:nvPr/>
        </p:nvSpPr>
        <p:spPr>
          <a:xfrm>
            <a:off x="7574078" y="1790907"/>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Expand core and subsea networks, increase 100G circuits in the network</a:t>
            </a:r>
          </a:p>
        </p:txBody>
      </p:sp>
      <p:sp>
        <p:nvSpPr>
          <p:cNvPr id="39" name="TextBox 38">
            <a:extLst>
              <a:ext uri="{FF2B5EF4-FFF2-40B4-BE49-F238E27FC236}">
                <a16:creationId xmlns:a16="http://schemas.microsoft.com/office/drawing/2014/main" id="{F0481E23-70C2-0345-BE95-65260433F840}"/>
              </a:ext>
            </a:extLst>
          </p:cNvPr>
          <p:cNvSpPr txBox="1"/>
          <p:nvPr/>
        </p:nvSpPr>
        <p:spPr>
          <a:xfrm>
            <a:off x="7365435" y="1450838"/>
            <a:ext cx="3321743"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EXPAND BACKBONE CAPACITY</a:t>
            </a:r>
          </a:p>
        </p:txBody>
      </p:sp>
      <p:sp>
        <p:nvSpPr>
          <p:cNvPr id="41" name="Subtitle 2">
            <a:extLst>
              <a:ext uri="{FF2B5EF4-FFF2-40B4-BE49-F238E27FC236}">
                <a16:creationId xmlns:a16="http://schemas.microsoft.com/office/drawing/2014/main" id="{1218B748-998B-4A49-AAE8-0DC5933708BC}"/>
              </a:ext>
            </a:extLst>
          </p:cNvPr>
          <p:cNvSpPr txBox="1">
            <a:spLocks/>
          </p:cNvSpPr>
          <p:nvPr/>
        </p:nvSpPr>
        <p:spPr>
          <a:xfrm>
            <a:off x="1959586" y="3482543"/>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Expand coverage and capacity in LTE and 5G networks</a:t>
            </a:r>
          </a:p>
        </p:txBody>
      </p:sp>
      <p:sp>
        <p:nvSpPr>
          <p:cNvPr id="42" name="TextBox 41">
            <a:extLst>
              <a:ext uri="{FF2B5EF4-FFF2-40B4-BE49-F238E27FC236}">
                <a16:creationId xmlns:a16="http://schemas.microsoft.com/office/drawing/2014/main" id="{61230D44-F3AD-0B4C-B61C-867E2208307A}"/>
              </a:ext>
            </a:extLst>
          </p:cNvPr>
          <p:cNvSpPr txBox="1"/>
          <p:nvPr/>
        </p:nvSpPr>
        <p:spPr>
          <a:xfrm>
            <a:off x="1959586" y="3164354"/>
            <a:ext cx="2906565"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EXPAND MOBILE NETWORK</a:t>
            </a:r>
          </a:p>
        </p:txBody>
      </p:sp>
      <p:sp>
        <p:nvSpPr>
          <p:cNvPr id="44" name="Subtitle 2">
            <a:extLst>
              <a:ext uri="{FF2B5EF4-FFF2-40B4-BE49-F238E27FC236}">
                <a16:creationId xmlns:a16="http://schemas.microsoft.com/office/drawing/2014/main" id="{9CA89A7E-3B03-9742-8391-5953C0BD5A29}"/>
              </a:ext>
            </a:extLst>
          </p:cNvPr>
          <p:cNvSpPr txBox="1">
            <a:spLocks/>
          </p:cNvSpPr>
          <p:nvPr/>
        </p:nvSpPr>
        <p:spPr>
          <a:xfrm>
            <a:off x="7574078" y="3482543"/>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Leverage Wow-Fi product to improve the in-home connected experience</a:t>
            </a:r>
          </a:p>
        </p:txBody>
      </p:sp>
      <p:sp>
        <p:nvSpPr>
          <p:cNvPr id="45" name="TextBox 44">
            <a:extLst>
              <a:ext uri="{FF2B5EF4-FFF2-40B4-BE49-F238E27FC236}">
                <a16:creationId xmlns:a16="http://schemas.microsoft.com/office/drawing/2014/main" id="{A03C882E-37F6-3843-94F6-41FCD5B2FD6D}"/>
              </a:ext>
            </a:extLst>
          </p:cNvPr>
          <p:cNvSpPr txBox="1"/>
          <p:nvPr/>
        </p:nvSpPr>
        <p:spPr>
          <a:xfrm>
            <a:off x="7574078" y="3164354"/>
            <a:ext cx="3373039"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IMPROVE IN-HOME EXPERIENCE</a:t>
            </a:r>
          </a:p>
        </p:txBody>
      </p:sp>
      <p:sp>
        <p:nvSpPr>
          <p:cNvPr id="47" name="Subtitle 2">
            <a:extLst>
              <a:ext uri="{FF2B5EF4-FFF2-40B4-BE49-F238E27FC236}">
                <a16:creationId xmlns:a16="http://schemas.microsoft.com/office/drawing/2014/main" id="{314E866B-4B5A-124C-B7AA-C4D63D28DBF9}"/>
              </a:ext>
            </a:extLst>
          </p:cNvPr>
          <p:cNvSpPr txBox="1">
            <a:spLocks/>
          </p:cNvSpPr>
          <p:nvPr/>
        </p:nvSpPr>
        <p:spPr>
          <a:xfrm>
            <a:off x="1959586" y="5053004"/>
            <a:ext cx="3592398" cy="738664"/>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Increase upstream speeds to support remote working and learning requirements</a:t>
            </a:r>
          </a:p>
        </p:txBody>
      </p:sp>
      <p:sp>
        <p:nvSpPr>
          <p:cNvPr id="48" name="TextBox 47">
            <a:extLst>
              <a:ext uri="{FF2B5EF4-FFF2-40B4-BE49-F238E27FC236}">
                <a16:creationId xmlns:a16="http://schemas.microsoft.com/office/drawing/2014/main" id="{5E9C6127-9C69-794C-A426-AFC7E2D1A085}"/>
              </a:ext>
            </a:extLst>
          </p:cNvPr>
          <p:cNvSpPr txBox="1"/>
          <p:nvPr/>
        </p:nvSpPr>
        <p:spPr>
          <a:xfrm>
            <a:off x="1959586" y="4821903"/>
            <a:ext cx="2940228"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MORE SYMMETRIC SERVICE</a:t>
            </a:r>
          </a:p>
        </p:txBody>
      </p:sp>
      <p:sp>
        <p:nvSpPr>
          <p:cNvPr id="50" name="Subtitle 2">
            <a:extLst>
              <a:ext uri="{FF2B5EF4-FFF2-40B4-BE49-F238E27FC236}">
                <a16:creationId xmlns:a16="http://schemas.microsoft.com/office/drawing/2014/main" id="{BA34825E-182B-CC4F-B907-019456243B05}"/>
              </a:ext>
            </a:extLst>
          </p:cNvPr>
          <p:cNvSpPr txBox="1">
            <a:spLocks/>
          </p:cNvSpPr>
          <p:nvPr/>
        </p:nvSpPr>
        <p:spPr>
          <a:xfrm>
            <a:off x="7574078" y="5140092"/>
            <a:ext cx="3592398" cy="50783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ts val="1750"/>
              </a:lnSpc>
            </a:pPr>
            <a:r>
              <a:rPr lang="en-US" sz="1600" dirty="0">
                <a:solidFill>
                  <a:schemeClr val="tx1"/>
                </a:solidFill>
                <a:latin typeface="Lato Light" panose="020F0502020204030203" pitchFamily="34" charset="0"/>
                <a:ea typeface="Open Sans Light" panose="020B0306030504020204" pitchFamily="34" charset="0"/>
                <a:cs typeface="Open Sans Light" panose="020B0306030504020204" pitchFamily="34" charset="0"/>
              </a:rPr>
              <a:t>Improve power resiliency and build additional redundancy in the networks</a:t>
            </a:r>
          </a:p>
        </p:txBody>
      </p:sp>
      <p:sp>
        <p:nvSpPr>
          <p:cNvPr id="51" name="TextBox 50">
            <a:extLst>
              <a:ext uri="{FF2B5EF4-FFF2-40B4-BE49-F238E27FC236}">
                <a16:creationId xmlns:a16="http://schemas.microsoft.com/office/drawing/2014/main" id="{930A2375-BED1-0B48-B11A-CBC9EC9B4541}"/>
              </a:ext>
            </a:extLst>
          </p:cNvPr>
          <p:cNvSpPr txBox="1"/>
          <p:nvPr/>
        </p:nvSpPr>
        <p:spPr>
          <a:xfrm>
            <a:off x="7574078" y="4821903"/>
            <a:ext cx="3393878" cy="338554"/>
          </a:xfrm>
          <a:prstGeom prst="rect">
            <a:avLst/>
          </a:prstGeom>
          <a:noFill/>
        </p:spPr>
        <p:txBody>
          <a:bodyPr wrap="none" rtlCol="0" anchor="ctr" anchorCtr="0">
            <a:spAutoFit/>
          </a:bodyPr>
          <a:lstStyle/>
          <a:p>
            <a:r>
              <a:rPr lang="en-US" sz="1600" b="1" dirty="0">
                <a:solidFill>
                  <a:schemeClr val="tx2"/>
                </a:solidFill>
                <a:latin typeface="Poppins" pitchFamily="2" charset="77"/>
                <a:ea typeface="League Spartan" charset="0"/>
                <a:cs typeface="Poppins" pitchFamily="2" charset="77"/>
              </a:rPr>
              <a:t>IMPROVE NETWORK RESILIENCY</a:t>
            </a:r>
          </a:p>
        </p:txBody>
      </p:sp>
    </p:spTree>
    <p:extLst>
      <p:ext uri="{BB962C8B-B14F-4D97-AF65-F5344CB8AC3E}">
        <p14:creationId xmlns:p14="http://schemas.microsoft.com/office/powerpoint/2010/main" val="1992503974"/>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74BADCA-5CF4-F31E-04E6-142CC7BFCE3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9761263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F44E1A-0AA6-633F-98E9-8F0798BF4F4E}"/>
              </a:ext>
            </a:extLst>
          </p:cNvPr>
          <p:cNvSpPr txBox="1"/>
          <p:nvPr/>
        </p:nvSpPr>
        <p:spPr>
          <a:xfrm>
            <a:off x="4460488" y="2756078"/>
            <a:ext cx="3271024" cy="830997"/>
          </a:xfrm>
          <a:prstGeom prst="rect">
            <a:avLst/>
          </a:prstGeom>
          <a:noFill/>
        </p:spPr>
        <p:txBody>
          <a:bodyPr wrap="none" lIns="0" tIns="0" rIns="0" bIns="0" rtlCol="0">
            <a:spAutoFit/>
          </a:bodyPr>
          <a:lstStyle/>
          <a:p>
            <a:pPr algn="ctr"/>
            <a:r>
              <a:rPr lang="en-PA" sz="5400" dirty="0">
                <a:solidFill>
                  <a:schemeClr val="bg2"/>
                </a:solidFill>
              </a:rPr>
              <a:t>Thank You</a:t>
            </a:r>
          </a:p>
        </p:txBody>
      </p:sp>
    </p:spTree>
    <p:extLst>
      <p:ext uri="{BB962C8B-B14F-4D97-AF65-F5344CB8AC3E}">
        <p14:creationId xmlns:p14="http://schemas.microsoft.com/office/powerpoint/2010/main" val="319478471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itle 1">
            <a:extLst>
              <a:ext uri="{FF2B5EF4-FFF2-40B4-BE49-F238E27FC236}">
                <a16:creationId xmlns:a16="http://schemas.microsoft.com/office/drawing/2014/main" id="{8B687090-986F-524E-8EBE-0F91F56484AE}"/>
              </a:ext>
            </a:extLst>
          </p:cNvPr>
          <p:cNvSpPr txBox="1">
            <a:spLocks/>
          </p:cNvSpPr>
          <p:nvPr/>
        </p:nvSpPr>
        <p:spPr>
          <a:xfrm>
            <a:off x="391442" y="610068"/>
            <a:ext cx="10901115" cy="331537"/>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600">
                <a:latin typeface="Arial" charset="0"/>
                <a:ea typeface="Arial" charset="0"/>
                <a:cs typeface="Arial" charset="0"/>
              </a:rPr>
              <a:t>IMPORTANT NOTICES</a:t>
            </a:r>
          </a:p>
        </p:txBody>
      </p:sp>
      <p:sp>
        <p:nvSpPr>
          <p:cNvPr id="34" name="Text Placeholder 2">
            <a:extLst>
              <a:ext uri="{FF2B5EF4-FFF2-40B4-BE49-F238E27FC236}">
                <a16:creationId xmlns:a16="http://schemas.microsoft.com/office/drawing/2014/main" id="{87E145CF-529E-45AF-9408-01A944A01D6A}"/>
              </a:ext>
            </a:extLst>
          </p:cNvPr>
          <p:cNvSpPr txBox="1">
            <a:spLocks/>
          </p:cNvSpPr>
          <p:nvPr/>
        </p:nvSpPr>
        <p:spPr>
          <a:xfrm>
            <a:off x="304934" y="1028156"/>
            <a:ext cx="11602586" cy="4480015"/>
          </a:xfrm>
          <a:prstGeom prst="rect">
            <a:avLst/>
          </a:prstGeom>
        </p:spPr>
        <p:txBody>
          <a:bodyPr wrap="square" numCol="2" spcCol="360000"/>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lnSpc>
                <a:spcPts val="1320"/>
              </a:lnSpc>
              <a:spcBef>
                <a:spcPts val="600"/>
              </a:spcBef>
            </a:pPr>
            <a:r>
              <a:rPr lang="en-US" sz="850" b="1" dirty="0">
                <a:solidFill>
                  <a:srgbClr val="4F5252"/>
                </a:solidFill>
              </a:rPr>
              <a:t>Disclaimer</a:t>
            </a:r>
          </a:p>
          <a:p>
            <a:pPr algn="just">
              <a:lnSpc>
                <a:spcPts val="1320"/>
              </a:lnSpc>
              <a:spcBef>
                <a:spcPts val="600"/>
              </a:spcBef>
            </a:pPr>
            <a:r>
              <a:rPr lang="en-US" sz="850" dirty="0">
                <a:solidFill>
                  <a:srgbClr val="4F5252"/>
                </a:solidFill>
              </a:rPr>
              <a:t>This presentation and its contents are confidential and may not be reproduced, redistributed, published or passed on to any other person, directly or indirectly, in whole or in part, for any purpose. If this presentation has been received in error it must be returned immediately to Liberty Latin America Ltd. (“we,” “our” or the “Company”).  This presentation is not directed to, or intended for distribution to or use by, any person or entity that is a citizen or resident of, or located in, any locality, state, country or other jurisdiction where such distribution or use would be contrary to law or regulation or which would require any registration or licensing within such jurisdiction.  The Company makes no representation or warranty as to the accuracy or completeness of the information contained in this presentation and shall not have any liability for any representations (express or implied) regarding information contained herein, or for any omissions from, this information or any other written or oral communications transmitted to the recipient in the course of its evaluation of the Company.  This presentation is neither an offer to sell nor a solicitation of offers to purchase securities of the Company.  </a:t>
            </a:r>
          </a:p>
          <a:p>
            <a:pPr algn="just">
              <a:lnSpc>
                <a:spcPts val="1320"/>
              </a:lnSpc>
              <a:spcBef>
                <a:spcPts val="600"/>
              </a:spcBef>
            </a:pPr>
            <a:r>
              <a:rPr lang="en-US" sz="850" b="1" dirty="0">
                <a:solidFill>
                  <a:srgbClr val="4F5252"/>
                </a:solidFill>
              </a:rPr>
              <a:t>Forward Looking Statements</a:t>
            </a:r>
          </a:p>
          <a:p>
            <a:pPr algn="just">
              <a:lnSpc>
                <a:spcPts val="1320"/>
              </a:lnSpc>
              <a:spcBef>
                <a:spcPts val="600"/>
              </a:spcBef>
            </a:pPr>
            <a:r>
              <a:rPr lang="en-US" sz="800" dirty="0"/>
              <a:t>This presentation contains forward-looking statements within the meaning of the Private Securities Litigation Reform Act of 1995, including statements regarding our strategies, priorities and objectives, performance, guidance and growth expectations for 2022; our digital strategy, product innovation and commercial plans and projects; expectations on demand for connectivity in the region; our anticipated integration plans, synergies, opportunities and integration costs in Puerto Rico following the AT&amp;T Acquisition and in Costa Rica following the acquisition of Telefónica's Costa Rica business; the timing and impact of the acquisition of América </a:t>
            </a:r>
            <a:r>
              <a:rPr lang="en-US" sz="800" dirty="0" err="1"/>
              <a:t>Móvil’s</a:t>
            </a:r>
            <a:r>
              <a:rPr lang="en-US" sz="800" dirty="0"/>
              <a:t> Panama operations and the formation of a joint venture with América </a:t>
            </a:r>
            <a:r>
              <a:rPr lang="en-US" sz="800" dirty="0" err="1"/>
              <a:t>Móvil</a:t>
            </a:r>
            <a:r>
              <a:rPr lang="en-US" sz="800" dirty="0"/>
              <a:t> in Chile; the strength of our balance sheet and tenor of our debt; our share repurchase program; and other information and statements that are not historical fact. These forward-looking statements involve certain risks and uncertainties that could cause actual results to differ materially from those expressed or implied by these statements. These risks and uncertainties include events that are outside of our control, such as hurricanes and other natural disasters, political or social events, and pandemics, such as COVID-19, the uncertainties surrounding such events</a:t>
            </a:r>
          </a:p>
          <a:p>
            <a:pPr algn="just">
              <a:lnSpc>
                <a:spcPts val="1320"/>
              </a:lnSpc>
              <a:spcBef>
                <a:spcPts val="600"/>
              </a:spcBef>
            </a:pPr>
            <a:r>
              <a:rPr lang="en-US" sz="800" dirty="0"/>
              <a:t>and efforts to contain any pandemic, the ability and cost to restore networks in the markets impacted by hurricanes or generally to respond to any such events; the continued use by subscribers and potential subscribers of our services and their willingness to upgrade to our more advanced offerings; our ability to meet challenges from competition, to manage rapid technological change or to maintain or increase rates to our subscribers or to pass through increased costs to our subscribers; the effects of changes in laws or regulation; general economic factors; our ability to obtain regulatory approval and satisfy conditions associated with acquisitions and dispositions, including the acquisition of América </a:t>
            </a:r>
            <a:r>
              <a:rPr lang="en-US" sz="800" dirty="0" err="1"/>
              <a:t>Móvil’s</a:t>
            </a:r>
            <a:r>
              <a:rPr lang="en-US" sz="800" dirty="0"/>
              <a:t> Panama operations and the formation of a joint venture with América </a:t>
            </a:r>
            <a:r>
              <a:rPr lang="en-US" sz="800" dirty="0" err="1"/>
              <a:t>Móvil</a:t>
            </a:r>
            <a:r>
              <a:rPr lang="en-US" sz="800" dirty="0"/>
              <a:t> in Chile; our ability to successfully acquire and integrate new businesses and realize anticipated efficiencies from acquired businesses; the availability of attractive programming for our video services and the costs associated with such programming; our ability to achieve forecasted financial and operating targets; the outcome of any pending or threatened litigation; the ability of our operating companies to access cash of their respective subsidiaries; the impact of our operating companies' future financial performance, or market conditions generally, on the availability, terms and deployment of capital; fluctuations in currency exchange and interest rates; the ability of suppliers and vendors (including our third-party wireless network provider under our MVNO arrangement) to timely deliver quality products, equipment, software, services and access; our ability to adequately forecast and plan future network requirements including the costs and benefits associated with network expansions; and other factors detailed from time to time in our filings with the Securities and Exchange Commission, including our most recently filed Form 10-K and Form 10-Q. These forward-looking statements speak only as of the date of this presentation. We expressly disclaim any obligation or undertaking to disseminate any updates or revisions to any forward-looking statement contained herein to reflect any change in our expectations with regard thereto or any change in events, conditions or circumstances on which any such statement is based.</a:t>
            </a:r>
          </a:p>
          <a:p>
            <a:pPr algn="just">
              <a:lnSpc>
                <a:spcPts val="1320"/>
              </a:lnSpc>
              <a:spcBef>
                <a:spcPts val="600"/>
              </a:spcBef>
            </a:pPr>
            <a:r>
              <a:rPr lang="en-US" sz="850" b="1" dirty="0">
                <a:solidFill>
                  <a:srgbClr val="4F5252"/>
                </a:solidFill>
              </a:rPr>
              <a:t>Non-GAAP Measures</a:t>
            </a:r>
          </a:p>
          <a:p>
            <a:pPr algn="just" defTabSz="914261">
              <a:lnSpc>
                <a:spcPts val="1320"/>
              </a:lnSpc>
              <a:spcBef>
                <a:spcPts val="600"/>
              </a:spcBef>
              <a:defRPr/>
            </a:pPr>
            <a:r>
              <a:rPr lang="en-US" sz="800" dirty="0"/>
              <a:t>Please refer to the Appendix at the end of this presentation, as well as our SEC filings, for the definitions of the following terms which may be used herein including: Rebased Growth, Adjusted Operating Income Before Depreciation and Amortization (“Adjusted OIBDA”), Adjusted Free Cash Flow (“Adjusted FCF”), Revenue Generating Units (“RGUs”), as well as non-GAAP reconciliations, where applicable.</a:t>
            </a:r>
          </a:p>
        </p:txBody>
      </p:sp>
      <p:sp>
        <p:nvSpPr>
          <p:cNvPr id="3" name="Footer Placeholder 2">
            <a:extLst>
              <a:ext uri="{FF2B5EF4-FFF2-40B4-BE49-F238E27FC236}">
                <a16:creationId xmlns:a16="http://schemas.microsoft.com/office/drawing/2014/main" id="{AD53E72B-888A-4C98-933F-A6B4C4F04906}"/>
              </a:ext>
            </a:extLst>
          </p:cNvPr>
          <p:cNvSpPr>
            <a:spLocks noGrp="1"/>
          </p:cNvSpPr>
          <p:nvPr>
            <p:ph type="ftr" sz="quarter" idx="3"/>
          </p:nvPr>
        </p:nvSpPr>
        <p:spPr/>
        <p:txBody>
          <a:bodyPr/>
          <a:lstStyle/>
          <a:p>
            <a:r>
              <a:rPr lang="en-US">
                <a:solidFill>
                  <a:srgbClr val="FFFFFF"/>
                </a:solidFill>
              </a:rPr>
              <a:t>LIBERTY LATIN AMERICA  |  MAY 2022</a:t>
            </a:r>
          </a:p>
        </p:txBody>
      </p:sp>
      <p:sp>
        <p:nvSpPr>
          <p:cNvPr id="4" name="Slide Number Placeholder 3">
            <a:extLst>
              <a:ext uri="{FF2B5EF4-FFF2-40B4-BE49-F238E27FC236}">
                <a16:creationId xmlns:a16="http://schemas.microsoft.com/office/drawing/2014/main" id="{FD3E71F9-9FEA-42D0-AC07-0F85EFA5493D}"/>
              </a:ext>
            </a:extLst>
          </p:cNvPr>
          <p:cNvSpPr>
            <a:spLocks noGrp="1"/>
          </p:cNvSpPr>
          <p:nvPr>
            <p:ph type="sldNum" sz="quarter" idx="4"/>
          </p:nvPr>
        </p:nvSpPr>
        <p:spPr/>
        <p:txBody>
          <a:bodyPr/>
          <a:lstStyle/>
          <a:p>
            <a:fld id="{496097A3-845D-4C79-9B10-713A18711759}" type="slidenum">
              <a:rPr lang="en-US" smtClean="0"/>
              <a:pPr/>
              <a:t>2</a:t>
            </a:fld>
            <a:endParaRPr lang="en-US"/>
          </a:p>
        </p:txBody>
      </p:sp>
    </p:spTree>
    <p:extLst>
      <p:ext uri="{BB962C8B-B14F-4D97-AF65-F5344CB8AC3E}">
        <p14:creationId xmlns:p14="http://schemas.microsoft.com/office/powerpoint/2010/main" val="9996295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gradFill flip="none" rotWithShape="1">
          <a:gsLst>
            <a:gs pos="0">
              <a:schemeClr val="bg2"/>
            </a:gs>
            <a:gs pos="100000">
              <a:schemeClr val="bg2">
                <a:lumMod val="50000"/>
              </a:schemeClr>
            </a:gs>
          </a:gsLst>
          <a:lin ang="2700000" scaled="1"/>
          <a:tileRect/>
        </a:gradFill>
        <a:effectLst/>
      </p:bgPr>
    </p:bg>
    <p:spTree>
      <p:nvGrpSpPr>
        <p:cNvPr id="1" name=""/>
        <p:cNvGrpSpPr/>
        <p:nvPr/>
      </p:nvGrpSpPr>
      <p:grpSpPr>
        <a:xfrm>
          <a:off x="0" y="0"/>
          <a:ext cx="0" cy="0"/>
          <a:chOff x="0" y="0"/>
          <a:chExt cx="0" cy="0"/>
        </a:xfrm>
      </p:grpSpPr>
      <p:pic>
        <p:nvPicPr>
          <p:cNvPr id="11" name="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308080" y="179681"/>
            <a:ext cx="641084" cy="799567"/>
          </a:xfrm>
          <a:prstGeom prst="rect">
            <a:avLst/>
          </a:prstGeom>
        </p:spPr>
      </p:pic>
      <p:pic>
        <p:nvPicPr>
          <p:cNvPr id="2" name="Picture 1"/>
          <p:cNvPicPr>
            <a:picLocks noChangeAspect="1"/>
          </p:cNvPicPr>
          <p:nvPr/>
        </p:nvPicPr>
        <p:blipFill>
          <a:blip r:embed="rId3"/>
          <a:stretch>
            <a:fillRect/>
          </a:stretch>
        </p:blipFill>
        <p:spPr>
          <a:xfrm>
            <a:off x="426040" y="395314"/>
            <a:ext cx="2451100" cy="368300"/>
          </a:xfrm>
          <a:prstGeom prst="rect">
            <a:avLst/>
          </a:prstGeom>
        </p:spPr>
      </p:pic>
      <p:pic>
        <p:nvPicPr>
          <p:cNvPr id="7" name="Picture 6"/>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80288" y="1977656"/>
            <a:ext cx="10631424" cy="2902688"/>
          </a:xfrm>
          <a:prstGeom prst="rect">
            <a:avLst/>
          </a:prstGeom>
        </p:spPr>
      </p:pic>
    </p:spTree>
    <p:extLst>
      <p:ext uri="{BB962C8B-B14F-4D97-AF65-F5344CB8AC3E}">
        <p14:creationId xmlns:p14="http://schemas.microsoft.com/office/powerpoint/2010/main" val="31457005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D4098C5-C2A7-D670-EF7A-70A4156EFE67}"/>
              </a:ext>
            </a:extLst>
          </p:cNvPr>
          <p:cNvPicPr>
            <a:picLocks noChangeAspect="1"/>
          </p:cNvPicPr>
          <p:nvPr/>
        </p:nvPicPr>
        <p:blipFill>
          <a:blip r:embed="rId2"/>
          <a:stretch>
            <a:fillRect/>
          </a:stretch>
        </p:blipFill>
        <p:spPr>
          <a:xfrm>
            <a:off x="127819" y="494258"/>
            <a:ext cx="5666742" cy="6184725"/>
          </a:xfrm>
          <a:prstGeom prst="rect">
            <a:avLst/>
          </a:prstGeom>
        </p:spPr>
      </p:pic>
      <p:sp>
        <p:nvSpPr>
          <p:cNvPr id="4" name="Title 1">
            <a:extLst>
              <a:ext uri="{FF2B5EF4-FFF2-40B4-BE49-F238E27FC236}">
                <a16:creationId xmlns:a16="http://schemas.microsoft.com/office/drawing/2014/main" id="{32FE9DF2-E28A-DD55-EDE1-BF4E615C2B8A}"/>
              </a:ext>
            </a:extLst>
          </p:cNvPr>
          <p:cNvSpPr txBox="1">
            <a:spLocks/>
          </p:cNvSpPr>
          <p:nvPr/>
        </p:nvSpPr>
        <p:spPr>
          <a:xfrm>
            <a:off x="7618" y="6412"/>
            <a:ext cx="90855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LLA Highlights</a:t>
            </a:r>
          </a:p>
          <a:p>
            <a:endParaRPr lang="en-US" sz="2800" dirty="0"/>
          </a:p>
        </p:txBody>
      </p:sp>
      <p:grpSp>
        <p:nvGrpSpPr>
          <p:cNvPr id="6" name="Group 5">
            <a:extLst>
              <a:ext uri="{FF2B5EF4-FFF2-40B4-BE49-F238E27FC236}">
                <a16:creationId xmlns:a16="http://schemas.microsoft.com/office/drawing/2014/main" id="{3A260E68-5809-2A3C-926F-F7BDA9831D37}"/>
              </a:ext>
            </a:extLst>
          </p:cNvPr>
          <p:cNvGrpSpPr/>
          <p:nvPr/>
        </p:nvGrpSpPr>
        <p:grpSpPr>
          <a:xfrm>
            <a:off x="4833119" y="719762"/>
            <a:ext cx="7231062" cy="5418475"/>
            <a:chOff x="5095848" y="702693"/>
            <a:chExt cx="7231062" cy="5418475"/>
          </a:xfrm>
        </p:grpSpPr>
        <p:sp>
          <p:nvSpPr>
            <p:cNvPr id="7" name="Freeform: Shape 6">
              <a:extLst>
                <a:ext uri="{FF2B5EF4-FFF2-40B4-BE49-F238E27FC236}">
                  <a16:creationId xmlns:a16="http://schemas.microsoft.com/office/drawing/2014/main" id="{FB0DB47B-4975-3E85-BC87-5A50A6A6CD70}"/>
                </a:ext>
              </a:extLst>
            </p:cNvPr>
            <p:cNvSpPr/>
            <p:nvPr/>
          </p:nvSpPr>
          <p:spPr>
            <a:xfrm>
              <a:off x="8284747" y="702693"/>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0" tIns="431121" rIns="274320" bIns="431121" numCol="1" spcCol="1270" anchor="ctr" anchorCtr="0">
              <a:noAutofit/>
            </a:bodyPr>
            <a:lstStyle/>
            <a:p>
              <a:pPr marL="0" lvl="0" indent="0" algn="ctr" defTabSz="1377950">
                <a:lnSpc>
                  <a:spcPct val="90000"/>
                </a:lnSpc>
                <a:spcBef>
                  <a:spcPct val="0"/>
                </a:spcBef>
                <a:spcAft>
                  <a:spcPct val="35000"/>
                </a:spcAft>
                <a:buNone/>
              </a:pPr>
              <a:r>
                <a:rPr lang="en-US" sz="2800" b="1" kern="1200" dirty="0"/>
                <a:t>20+</a:t>
              </a:r>
            </a:p>
            <a:p>
              <a:pPr marL="0" lvl="0" indent="0" algn="ctr" defTabSz="1377950">
                <a:lnSpc>
                  <a:spcPct val="90000"/>
                </a:lnSpc>
                <a:spcBef>
                  <a:spcPct val="0"/>
                </a:spcBef>
                <a:spcAft>
                  <a:spcPct val="35000"/>
                </a:spcAft>
                <a:buNone/>
              </a:pPr>
              <a:r>
                <a:rPr lang="en-US" sz="1600" dirty="0"/>
                <a:t>Consumer</a:t>
              </a:r>
            </a:p>
            <a:p>
              <a:pPr marL="0" lvl="0" indent="0" algn="ctr" defTabSz="1377950">
                <a:lnSpc>
                  <a:spcPct val="90000"/>
                </a:lnSpc>
                <a:spcBef>
                  <a:spcPct val="0"/>
                </a:spcBef>
                <a:spcAft>
                  <a:spcPct val="35000"/>
                </a:spcAft>
                <a:buNone/>
              </a:pPr>
              <a:r>
                <a:rPr lang="en-US" sz="1600" kern="1200" dirty="0"/>
                <a:t>Markets</a:t>
              </a:r>
            </a:p>
          </p:txBody>
        </p:sp>
        <p:sp>
          <p:nvSpPr>
            <p:cNvPr id="8" name="Rectangle 7">
              <a:extLst>
                <a:ext uri="{FF2B5EF4-FFF2-40B4-BE49-F238E27FC236}">
                  <a16:creationId xmlns:a16="http://schemas.microsoft.com/office/drawing/2014/main" id="{5E6210E7-5E61-E914-D042-095D9FC09341}"/>
                </a:ext>
              </a:extLst>
            </p:cNvPr>
            <p:cNvSpPr/>
            <p:nvPr/>
          </p:nvSpPr>
          <p:spPr>
            <a:xfrm>
              <a:off x="10085281" y="1104419"/>
              <a:ext cx="2241629" cy="12051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PA"/>
            </a:p>
          </p:txBody>
        </p:sp>
        <p:sp>
          <p:nvSpPr>
            <p:cNvPr id="10" name="Freeform: Shape 9">
              <a:extLst>
                <a:ext uri="{FF2B5EF4-FFF2-40B4-BE49-F238E27FC236}">
                  <a16:creationId xmlns:a16="http://schemas.microsoft.com/office/drawing/2014/main" id="{CD1F3F58-2808-E422-991A-6C3915AB58B2}"/>
                </a:ext>
              </a:extLst>
            </p:cNvPr>
            <p:cNvSpPr/>
            <p:nvPr/>
          </p:nvSpPr>
          <p:spPr>
            <a:xfrm>
              <a:off x="7337478" y="2407617"/>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4320" tIns="431121" rIns="274320" bIns="431121" numCol="1" spcCol="1270" anchor="ctr" anchorCtr="0">
              <a:noAutofit/>
            </a:bodyPr>
            <a:lstStyle/>
            <a:p>
              <a:pPr marL="0" lvl="0" indent="0" algn="ctr" defTabSz="1377950">
                <a:lnSpc>
                  <a:spcPct val="90000"/>
                </a:lnSpc>
                <a:spcBef>
                  <a:spcPct val="0"/>
                </a:spcBef>
                <a:spcAft>
                  <a:spcPct val="35000"/>
                </a:spcAft>
                <a:buNone/>
              </a:pPr>
              <a:r>
                <a:rPr lang="en-US" sz="2400" b="1" kern="1200" dirty="0"/>
                <a:t>6.5 Million</a:t>
              </a:r>
            </a:p>
            <a:p>
              <a:pPr marL="0" lvl="0" indent="0" algn="ctr" defTabSz="1377950">
                <a:lnSpc>
                  <a:spcPct val="90000"/>
                </a:lnSpc>
                <a:spcBef>
                  <a:spcPct val="0"/>
                </a:spcBef>
                <a:spcAft>
                  <a:spcPct val="35000"/>
                </a:spcAft>
                <a:buNone/>
              </a:pPr>
              <a:r>
                <a:rPr lang="en-US" sz="1600" kern="1200" dirty="0"/>
                <a:t>Fixed RGUs</a:t>
              </a:r>
            </a:p>
          </p:txBody>
        </p:sp>
        <p:sp>
          <p:nvSpPr>
            <p:cNvPr id="11" name="Rectangle 10">
              <a:extLst>
                <a:ext uri="{FF2B5EF4-FFF2-40B4-BE49-F238E27FC236}">
                  <a16:creationId xmlns:a16="http://schemas.microsoft.com/office/drawing/2014/main" id="{02076DA4-C3E4-54F6-8306-9145FDEFEF60}"/>
                </a:ext>
              </a:extLst>
            </p:cNvPr>
            <p:cNvSpPr/>
            <p:nvPr/>
          </p:nvSpPr>
          <p:spPr>
            <a:xfrm>
              <a:off x="5095848" y="2809342"/>
              <a:ext cx="2169318" cy="12051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PA"/>
            </a:p>
          </p:txBody>
        </p:sp>
        <p:sp>
          <p:nvSpPr>
            <p:cNvPr id="12" name="Freeform: Shape 11">
              <a:extLst>
                <a:ext uri="{FF2B5EF4-FFF2-40B4-BE49-F238E27FC236}">
                  <a16:creationId xmlns:a16="http://schemas.microsoft.com/office/drawing/2014/main" id="{837A5F2F-089A-4AE8-587F-5C13F790F885}"/>
                </a:ext>
              </a:extLst>
            </p:cNvPr>
            <p:cNvSpPr/>
            <p:nvPr/>
          </p:nvSpPr>
          <p:spPr>
            <a:xfrm>
              <a:off x="9224785" y="2407617"/>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72320" tIns="313011" rIns="272320" bIns="313011" numCol="1" spcCol="1270" anchor="ctr" anchorCtr="0">
              <a:noAutofit/>
            </a:bodyPr>
            <a:lstStyle/>
            <a:p>
              <a:pPr lvl="0" algn="ctr" defTabSz="1377950">
                <a:lnSpc>
                  <a:spcPct val="90000"/>
                </a:lnSpc>
                <a:spcBef>
                  <a:spcPct val="0"/>
                </a:spcBef>
                <a:spcAft>
                  <a:spcPct val="35000"/>
                </a:spcAft>
              </a:pPr>
              <a:r>
                <a:rPr lang="en-US" sz="2400" b="1" dirty="0"/>
                <a:t>8.5 Million</a:t>
              </a:r>
            </a:p>
            <a:p>
              <a:pPr lvl="0" algn="ctr" defTabSz="1377950">
                <a:lnSpc>
                  <a:spcPct val="90000"/>
                </a:lnSpc>
                <a:spcBef>
                  <a:spcPct val="0"/>
                </a:spcBef>
                <a:spcAft>
                  <a:spcPct val="35000"/>
                </a:spcAft>
              </a:pPr>
              <a:r>
                <a:rPr lang="en-US" sz="1600" dirty="0"/>
                <a:t>Homes Passed</a:t>
              </a:r>
              <a:endParaRPr lang="en-US" sz="1600" kern="1200" dirty="0"/>
            </a:p>
          </p:txBody>
        </p:sp>
        <p:sp>
          <p:nvSpPr>
            <p:cNvPr id="13" name="Freeform: Shape 12">
              <a:extLst>
                <a:ext uri="{FF2B5EF4-FFF2-40B4-BE49-F238E27FC236}">
                  <a16:creationId xmlns:a16="http://schemas.microsoft.com/office/drawing/2014/main" id="{7B4EE36F-D0F7-AC4F-B9A3-5F6E38839DAD}"/>
                </a:ext>
              </a:extLst>
            </p:cNvPr>
            <p:cNvSpPr/>
            <p:nvPr/>
          </p:nvSpPr>
          <p:spPr>
            <a:xfrm>
              <a:off x="8284747" y="4112540"/>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0430" tIns="431121" rIns="390430" bIns="431121" numCol="1" spcCol="1270" anchor="ctr" anchorCtr="0">
              <a:noAutofit/>
            </a:bodyPr>
            <a:lstStyle/>
            <a:p>
              <a:pPr marL="0" lvl="0" indent="0" algn="ctr" defTabSz="1377950">
                <a:lnSpc>
                  <a:spcPct val="90000"/>
                </a:lnSpc>
                <a:spcBef>
                  <a:spcPct val="0"/>
                </a:spcBef>
                <a:spcAft>
                  <a:spcPct val="35000"/>
                </a:spcAft>
                <a:buNone/>
              </a:pPr>
              <a:r>
                <a:rPr lang="en-US" sz="2400" b="1" dirty="0"/>
                <a:t>$4.9 </a:t>
              </a:r>
              <a:r>
                <a:rPr lang="en-US" sz="2400" b="1" kern="1200" dirty="0"/>
                <a:t>Billion</a:t>
              </a:r>
            </a:p>
            <a:p>
              <a:pPr marL="0" lvl="0" indent="0" algn="ctr" defTabSz="1377950">
                <a:lnSpc>
                  <a:spcPct val="90000"/>
                </a:lnSpc>
                <a:spcBef>
                  <a:spcPct val="0"/>
                </a:spcBef>
                <a:spcAft>
                  <a:spcPct val="35000"/>
                </a:spcAft>
                <a:buNone/>
              </a:pPr>
              <a:r>
                <a:rPr lang="en-US" sz="1600" dirty="0"/>
                <a:t>Revenue</a:t>
              </a:r>
              <a:endParaRPr lang="en-US" kern="1200" dirty="0"/>
            </a:p>
          </p:txBody>
        </p:sp>
        <p:sp>
          <p:nvSpPr>
            <p:cNvPr id="14" name="Rectangle 13">
              <a:extLst>
                <a:ext uri="{FF2B5EF4-FFF2-40B4-BE49-F238E27FC236}">
                  <a16:creationId xmlns:a16="http://schemas.microsoft.com/office/drawing/2014/main" id="{ED7998C6-B59D-F76F-50AE-7015AC542AD4}"/>
                </a:ext>
              </a:extLst>
            </p:cNvPr>
            <p:cNvSpPr/>
            <p:nvPr/>
          </p:nvSpPr>
          <p:spPr>
            <a:xfrm>
              <a:off x="10085281" y="4514266"/>
              <a:ext cx="2241629" cy="1205177"/>
            </a:xfrm>
            <a:prstGeom prst="rect">
              <a:avLst/>
            </a:pr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a:lstStyle/>
            <a:p>
              <a:endParaRPr lang="en-PA"/>
            </a:p>
          </p:txBody>
        </p:sp>
        <p:sp>
          <p:nvSpPr>
            <p:cNvPr id="16" name="Freeform: Shape 15">
              <a:extLst>
                <a:ext uri="{FF2B5EF4-FFF2-40B4-BE49-F238E27FC236}">
                  <a16:creationId xmlns:a16="http://schemas.microsoft.com/office/drawing/2014/main" id="{9AFF9741-6241-6DE6-5B67-B32DBAD35A4A}"/>
                </a:ext>
              </a:extLst>
            </p:cNvPr>
            <p:cNvSpPr/>
            <p:nvPr/>
          </p:nvSpPr>
          <p:spPr>
            <a:xfrm>
              <a:off x="10151566" y="4112540"/>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0430" tIns="431121" rIns="390430" bIns="431121" numCol="1" spcCol="1270" anchor="ctr" anchorCtr="0">
              <a:noAutofit/>
            </a:bodyPr>
            <a:lstStyle/>
            <a:p>
              <a:pPr marL="0" lvl="0" indent="0" algn="ctr" defTabSz="1377950">
                <a:lnSpc>
                  <a:spcPct val="90000"/>
                </a:lnSpc>
                <a:spcBef>
                  <a:spcPct val="0"/>
                </a:spcBef>
                <a:spcAft>
                  <a:spcPct val="35000"/>
                </a:spcAft>
                <a:buNone/>
              </a:pPr>
              <a:r>
                <a:rPr lang="en-US" sz="2400" b="1" kern="1200" dirty="0"/>
                <a:t>7.6 Million</a:t>
              </a:r>
            </a:p>
            <a:p>
              <a:pPr marL="0" lvl="0" indent="0" algn="ctr" defTabSz="1377950">
                <a:lnSpc>
                  <a:spcPct val="90000"/>
                </a:lnSpc>
                <a:spcBef>
                  <a:spcPct val="0"/>
                </a:spcBef>
                <a:spcAft>
                  <a:spcPct val="35000"/>
                </a:spcAft>
                <a:buNone/>
              </a:pPr>
              <a:r>
                <a:rPr lang="en-US" sz="1600" dirty="0"/>
                <a:t>Mobile Subs</a:t>
              </a:r>
              <a:endParaRPr lang="en-US" sz="1600" kern="1200" dirty="0"/>
            </a:p>
          </p:txBody>
        </p:sp>
      </p:grpSp>
      <p:sp>
        <p:nvSpPr>
          <p:cNvPr id="15" name="Freeform: Shape 12">
            <a:extLst>
              <a:ext uri="{FF2B5EF4-FFF2-40B4-BE49-F238E27FC236}">
                <a16:creationId xmlns:a16="http://schemas.microsoft.com/office/drawing/2014/main" id="{7ADC05B0-D8F1-2AB2-CF03-1E8779E5FAA8}"/>
              </a:ext>
            </a:extLst>
          </p:cNvPr>
          <p:cNvSpPr/>
          <p:nvPr/>
        </p:nvSpPr>
        <p:spPr>
          <a:xfrm>
            <a:off x="6156877" y="4129609"/>
            <a:ext cx="1747506" cy="2008628"/>
          </a:xfrm>
          <a:custGeom>
            <a:avLst/>
            <a:gdLst>
              <a:gd name="connsiteX0" fmla="*/ 0 w 2008628"/>
              <a:gd name="connsiteY0" fmla="*/ 873753 h 1747506"/>
              <a:gd name="connsiteX1" fmla="*/ 436877 w 2008628"/>
              <a:gd name="connsiteY1" fmla="*/ 0 h 1747506"/>
              <a:gd name="connsiteX2" fmla="*/ 1571752 w 2008628"/>
              <a:gd name="connsiteY2" fmla="*/ 0 h 1747506"/>
              <a:gd name="connsiteX3" fmla="*/ 2008628 w 2008628"/>
              <a:gd name="connsiteY3" fmla="*/ 873753 h 1747506"/>
              <a:gd name="connsiteX4" fmla="*/ 1571752 w 2008628"/>
              <a:gd name="connsiteY4" fmla="*/ 1747506 h 1747506"/>
              <a:gd name="connsiteX5" fmla="*/ 436877 w 2008628"/>
              <a:gd name="connsiteY5" fmla="*/ 1747506 h 1747506"/>
              <a:gd name="connsiteX6" fmla="*/ 0 w 2008628"/>
              <a:gd name="connsiteY6" fmla="*/ 873753 h 1747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08628" h="1747506">
                <a:moveTo>
                  <a:pt x="1004314" y="0"/>
                </a:moveTo>
                <a:lnTo>
                  <a:pt x="2008627" y="380083"/>
                </a:lnTo>
                <a:lnTo>
                  <a:pt x="2008627" y="1367424"/>
                </a:lnTo>
                <a:lnTo>
                  <a:pt x="1004314" y="1747506"/>
                </a:lnTo>
                <a:lnTo>
                  <a:pt x="1" y="1367424"/>
                </a:lnTo>
                <a:lnTo>
                  <a:pt x="1" y="380083"/>
                </a:lnTo>
                <a:lnTo>
                  <a:pt x="1004314" y="0"/>
                </a:lnTo>
                <a:close/>
              </a:path>
            </a:pathLst>
          </a:custGeom>
          <a:solidFill>
            <a:schemeClr val="bg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90430" tIns="431121" rIns="390430" bIns="431121" numCol="1" spcCol="1270" anchor="ctr" anchorCtr="0">
            <a:noAutofit/>
          </a:bodyPr>
          <a:lstStyle/>
          <a:p>
            <a:pPr marL="0" lvl="0" indent="0" algn="ctr" defTabSz="1377950">
              <a:lnSpc>
                <a:spcPct val="90000"/>
              </a:lnSpc>
              <a:spcBef>
                <a:spcPct val="0"/>
              </a:spcBef>
              <a:buNone/>
            </a:pPr>
            <a:r>
              <a:rPr lang="en-US" sz="2400" b="1" dirty="0"/>
              <a:t>50K</a:t>
            </a:r>
            <a:endParaRPr lang="en-US" sz="2400" b="1" kern="1200" dirty="0"/>
          </a:p>
          <a:p>
            <a:pPr marL="0" lvl="0" indent="0" algn="ctr" defTabSz="1377950">
              <a:lnSpc>
                <a:spcPct val="90000"/>
              </a:lnSpc>
              <a:spcBef>
                <a:spcPct val="0"/>
              </a:spcBef>
              <a:buNone/>
            </a:pPr>
            <a:r>
              <a:rPr lang="en-US" sz="2400" b="1" dirty="0"/>
              <a:t>Km</a:t>
            </a:r>
            <a:r>
              <a:rPr lang="en-US" dirty="0"/>
              <a:t> </a:t>
            </a:r>
          </a:p>
          <a:p>
            <a:pPr marL="0" lvl="0" indent="0" algn="ctr" defTabSz="1377950">
              <a:lnSpc>
                <a:spcPct val="90000"/>
              </a:lnSpc>
              <a:spcBef>
                <a:spcPts val="600"/>
              </a:spcBef>
              <a:buNone/>
            </a:pPr>
            <a:r>
              <a:rPr lang="en-US" sz="1600" dirty="0"/>
              <a:t>Undersea Cable</a:t>
            </a:r>
            <a:endParaRPr lang="en-US" kern="1200" dirty="0"/>
          </a:p>
        </p:txBody>
      </p:sp>
    </p:spTree>
    <p:extLst>
      <p:ext uri="{BB962C8B-B14F-4D97-AF65-F5344CB8AC3E}">
        <p14:creationId xmlns:p14="http://schemas.microsoft.com/office/powerpoint/2010/main" val="6659339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2" name="Object 51" hidden="1">
            <a:extLst>
              <a:ext uri="{FF2B5EF4-FFF2-40B4-BE49-F238E27FC236}">
                <a16:creationId xmlns:a16="http://schemas.microsoft.com/office/drawing/2014/main" id="{60658836-B856-B900-E426-BE088ED45C79}"/>
              </a:ext>
            </a:extLst>
          </p:cNvPr>
          <p:cNvGraphicFramePr>
            <a:graphicFrameLocks noChangeAspect="1"/>
          </p:cNvGraphicFramePr>
          <p:nvPr>
            <p:custDataLst>
              <p:tags r:id="rId2"/>
            </p:custDataLst>
            <p:extLst>
              <p:ext uri="{D42A27DB-BD31-4B8C-83A1-F6EECF244321}">
                <p14:modId xmlns:p14="http://schemas.microsoft.com/office/powerpoint/2010/main" val="403944922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481" name="think-cell Slide" r:id="rId15" imgW="7772400" imgH="10058400" progId="TCLayout.ActiveDocument.1">
                  <p:embed/>
                </p:oleObj>
              </mc:Choice>
              <mc:Fallback>
                <p:oleObj name="think-cell Slide" r:id="rId15" imgW="7772400" imgH="10058400" progId="TCLayout.ActiveDocument.1">
                  <p:embed/>
                  <p:pic>
                    <p:nvPicPr>
                      <p:cNvPr id="52" name="Object 51" hidden="1">
                        <a:extLst>
                          <a:ext uri="{FF2B5EF4-FFF2-40B4-BE49-F238E27FC236}">
                            <a16:creationId xmlns:a16="http://schemas.microsoft.com/office/drawing/2014/main" id="{60658836-B856-B900-E426-BE088ED45C79}"/>
                          </a:ext>
                        </a:extLst>
                      </p:cNvPr>
                      <p:cNvPicPr/>
                      <p:nvPr/>
                    </p:nvPicPr>
                    <p:blipFill>
                      <a:blip r:embed="rId16"/>
                      <a:stretch>
                        <a:fillRect/>
                      </a:stretch>
                    </p:blipFill>
                    <p:spPr>
                      <a:xfrm>
                        <a:off x="1588" y="1588"/>
                        <a:ext cx="1227"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C81F5D4-0718-97B4-A116-A15991BC0CC9}"/>
              </a:ext>
            </a:extLst>
          </p:cNvPr>
          <p:cNvSpPr/>
          <p:nvPr/>
        </p:nvSpPr>
        <p:spPr>
          <a:xfrm>
            <a:off x="148281" y="1023337"/>
            <a:ext cx="3712519" cy="53710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0FB1ED9-4BE3-1DDA-8A7F-36306E883F5C}"/>
              </a:ext>
            </a:extLst>
          </p:cNvPr>
          <p:cNvSpPr/>
          <p:nvPr/>
        </p:nvSpPr>
        <p:spPr>
          <a:xfrm>
            <a:off x="8231188" y="1023337"/>
            <a:ext cx="3837921" cy="537107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39" name="Chart 238">
            <a:extLst>
              <a:ext uri="{FF2B5EF4-FFF2-40B4-BE49-F238E27FC236}">
                <a16:creationId xmlns:a16="http://schemas.microsoft.com/office/drawing/2014/main" id="{51B28BC4-5CB8-5302-DFAE-CBC75FB923ED}"/>
              </a:ext>
            </a:extLst>
          </p:cNvPr>
          <p:cNvGraphicFramePr/>
          <p:nvPr>
            <p:custDataLst>
              <p:tags r:id="rId3"/>
            </p:custDataLst>
            <p:extLst>
              <p:ext uri="{D42A27DB-BD31-4B8C-83A1-F6EECF244321}">
                <p14:modId xmlns:p14="http://schemas.microsoft.com/office/powerpoint/2010/main" val="2316490359"/>
              </p:ext>
            </p:extLst>
          </p:nvPr>
        </p:nvGraphicFramePr>
        <p:xfrm>
          <a:off x="636588" y="2198688"/>
          <a:ext cx="2946400" cy="2946400"/>
        </p:xfrm>
        <a:graphic>
          <a:graphicData uri="http://schemas.openxmlformats.org/drawingml/2006/chart">
            <c:chart xmlns:c="http://schemas.openxmlformats.org/drawingml/2006/chart" xmlns:r="http://schemas.openxmlformats.org/officeDocument/2006/relationships" r:id="rId17"/>
          </a:graphicData>
        </a:graphic>
      </p:graphicFrame>
      <p:sp>
        <p:nvSpPr>
          <p:cNvPr id="12" name="TextBox 11">
            <a:extLst>
              <a:ext uri="{FF2B5EF4-FFF2-40B4-BE49-F238E27FC236}">
                <a16:creationId xmlns:a16="http://schemas.microsoft.com/office/drawing/2014/main" id="{D92CF72F-2B39-CC93-CB79-DC58DA29FB17}"/>
              </a:ext>
            </a:extLst>
          </p:cNvPr>
          <p:cNvSpPr txBox="1"/>
          <p:nvPr/>
        </p:nvSpPr>
        <p:spPr>
          <a:xfrm>
            <a:off x="360952" y="1082398"/>
            <a:ext cx="3222036" cy="246221"/>
          </a:xfrm>
          <a:prstGeom prst="rect">
            <a:avLst/>
          </a:prstGeom>
        </p:spPr>
        <p:txBody>
          <a:bodyPr vert="horz" wrap="none" lIns="0" tIns="0" rIns="0" bIns="0" rtlCol="0" anchor="t" anchorCtr="0">
            <a:spAutoFit/>
          </a:bodyPr>
          <a:lstStyle/>
          <a:p>
            <a:r>
              <a:rPr lang="en-US" sz="1600" b="1" dirty="0">
                <a:solidFill>
                  <a:schemeClr val="bg2"/>
                </a:solidFill>
              </a:rPr>
              <a:t>FIXED NETWORK TECHNOLOGY</a:t>
            </a:r>
          </a:p>
        </p:txBody>
      </p:sp>
      <p:sp>
        <p:nvSpPr>
          <p:cNvPr id="13" name="TextBox 12">
            <a:extLst>
              <a:ext uri="{FF2B5EF4-FFF2-40B4-BE49-F238E27FC236}">
                <a16:creationId xmlns:a16="http://schemas.microsoft.com/office/drawing/2014/main" id="{C9C6EBB5-1AB0-A9F2-C424-53AC1D4D40A8}"/>
              </a:ext>
            </a:extLst>
          </p:cNvPr>
          <p:cNvSpPr txBox="1"/>
          <p:nvPr/>
        </p:nvSpPr>
        <p:spPr>
          <a:xfrm>
            <a:off x="1506538" y="2963863"/>
            <a:ext cx="1235075" cy="1354138"/>
          </a:xfrm>
          <a:prstGeom prst="rect">
            <a:avLst/>
          </a:prstGeom>
        </p:spPr>
        <p:txBody>
          <a:bodyPr vert="horz" wrap="none" lIns="0" tIns="0" rIns="0" bIns="0" rtlCol="0" anchor="t" anchorCtr="0">
            <a:spAutoFit/>
          </a:bodyPr>
          <a:lstStyle/>
          <a:p>
            <a:pPr algn="ctr"/>
            <a:r>
              <a:rPr lang="en-US" sz="2800" b="1" dirty="0">
                <a:solidFill>
                  <a:schemeClr val="accent6">
                    <a:lumMod val="50000"/>
                  </a:schemeClr>
                </a:solidFill>
              </a:rPr>
              <a:t>8.5</a:t>
            </a:r>
          </a:p>
          <a:p>
            <a:pPr algn="ctr"/>
            <a:r>
              <a:rPr lang="en-US" sz="2800" b="1" dirty="0">
                <a:solidFill>
                  <a:schemeClr val="accent6">
                    <a:lumMod val="50000"/>
                  </a:schemeClr>
                </a:solidFill>
              </a:rPr>
              <a:t>Million </a:t>
            </a:r>
          </a:p>
          <a:p>
            <a:pPr algn="ctr"/>
            <a:r>
              <a:rPr lang="en-US" sz="1600" dirty="0">
                <a:solidFill>
                  <a:schemeClr val="accent6">
                    <a:lumMod val="50000"/>
                  </a:schemeClr>
                </a:solidFill>
              </a:rPr>
              <a:t>Homes</a:t>
            </a:r>
          </a:p>
          <a:p>
            <a:pPr algn="ctr"/>
            <a:r>
              <a:rPr lang="en-US" sz="1600" dirty="0">
                <a:solidFill>
                  <a:schemeClr val="accent6">
                    <a:lumMod val="50000"/>
                  </a:schemeClr>
                </a:solidFill>
              </a:rPr>
              <a:t>Passed</a:t>
            </a:r>
          </a:p>
        </p:txBody>
      </p:sp>
      <p:graphicFrame>
        <p:nvGraphicFramePr>
          <p:cNvPr id="241" name="Chart 240">
            <a:extLst>
              <a:ext uri="{FF2B5EF4-FFF2-40B4-BE49-F238E27FC236}">
                <a16:creationId xmlns:a16="http://schemas.microsoft.com/office/drawing/2014/main" id="{78B9BD93-2553-4513-558D-0B2A1E2F2429}"/>
              </a:ext>
            </a:extLst>
          </p:cNvPr>
          <p:cNvGraphicFramePr/>
          <p:nvPr>
            <p:custDataLst>
              <p:tags r:id="rId4"/>
            </p:custDataLst>
            <p:extLst>
              <p:ext uri="{D42A27DB-BD31-4B8C-83A1-F6EECF244321}">
                <p14:modId xmlns:p14="http://schemas.microsoft.com/office/powerpoint/2010/main" val="3388135168"/>
              </p:ext>
            </p:extLst>
          </p:nvPr>
        </p:nvGraphicFramePr>
        <p:xfrm>
          <a:off x="8515350" y="2152650"/>
          <a:ext cx="3082925" cy="3022600"/>
        </p:xfrm>
        <a:graphic>
          <a:graphicData uri="http://schemas.openxmlformats.org/drawingml/2006/chart">
            <c:chart xmlns:c="http://schemas.openxmlformats.org/drawingml/2006/chart" xmlns:r="http://schemas.openxmlformats.org/officeDocument/2006/relationships" r:id="rId18"/>
          </a:graphicData>
        </a:graphic>
      </p:graphicFrame>
      <p:sp>
        <p:nvSpPr>
          <p:cNvPr id="197" name="Rectangle 196">
            <a:extLst>
              <a:ext uri="{FF2B5EF4-FFF2-40B4-BE49-F238E27FC236}">
                <a16:creationId xmlns:a16="http://schemas.microsoft.com/office/drawing/2014/main" id="{9FA0CCCF-A80E-480D-A1FF-84CCD12A7B01}"/>
              </a:ext>
            </a:extLst>
          </p:cNvPr>
          <p:cNvSpPr/>
          <p:nvPr>
            <p:custDataLst>
              <p:tags r:id="rId5"/>
            </p:custDataLst>
          </p:nvPr>
        </p:nvSpPr>
        <p:spPr bwMode="gray">
          <a:xfrm>
            <a:off x="10612438" y="2044700"/>
            <a:ext cx="347663"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EDD40FDF-5C45-41FE-B08F-CF7D7460A105}" type="datetime'''9''''''''''''''''''''8%'''''''''''''''''''''''''''''''''''''">
              <a:rPr lang="en-GB" altLang="en-US" sz="1200" b="1" smtClean="0">
                <a:solidFill>
                  <a:schemeClr val="tx2"/>
                </a:solidFill>
              </a:rPr>
              <a:pPr/>
              <a:t>98%</a:t>
            </a:fld>
            <a:endParaRPr lang="en-PA" sz="1200" b="1" dirty="0">
              <a:solidFill>
                <a:schemeClr val="tx2"/>
              </a:solidFill>
              <a:sym typeface="+mn-lt"/>
            </a:endParaRPr>
          </a:p>
        </p:txBody>
      </p:sp>
      <p:sp>
        <p:nvSpPr>
          <p:cNvPr id="190" name="Rectangle 189">
            <a:extLst>
              <a:ext uri="{FF2B5EF4-FFF2-40B4-BE49-F238E27FC236}">
                <a16:creationId xmlns:a16="http://schemas.microsoft.com/office/drawing/2014/main" id="{26799D77-FF77-646A-3712-BC4AE6779CD9}"/>
              </a:ext>
            </a:extLst>
          </p:cNvPr>
          <p:cNvSpPr/>
          <p:nvPr>
            <p:custDataLst>
              <p:tags r:id="rId6"/>
            </p:custDataLst>
          </p:nvPr>
        </p:nvSpPr>
        <p:spPr bwMode="gray">
          <a:xfrm>
            <a:off x="9153525" y="3502025"/>
            <a:ext cx="347663" cy="165100"/>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2225" tIns="0" rIns="22225" bIns="0" numCol="1" spcCol="0" rtlCol="0" anchor="b" anchorCtr="0">
            <a:noAutofit/>
          </a:bodyPr>
          <a:lstStyle/>
          <a:p>
            <a:pPr algn="ctr">
              <a:lnSpc>
                <a:spcPct val="90000"/>
              </a:lnSpc>
              <a:spcBef>
                <a:spcPct val="0"/>
              </a:spcBef>
              <a:spcAft>
                <a:spcPct val="0"/>
              </a:spcAft>
            </a:pPr>
            <a:fld id="{ED6F3618-B6AC-4CEA-82AE-1742E6D5D46C}" type="datetime'4''''''''''''''8''''''''''''''''''''%'''''''''''">
              <a:rPr lang="en-GB" altLang="en-US" sz="1200" b="1" smtClean="0">
                <a:solidFill>
                  <a:schemeClr val="tx2"/>
                </a:solidFill>
              </a:rPr>
              <a:pPr/>
              <a:t>48%</a:t>
            </a:fld>
            <a:endParaRPr lang="en-PA" sz="1200" b="1" dirty="0">
              <a:solidFill>
                <a:schemeClr val="tx2"/>
              </a:solidFill>
              <a:sym typeface="+mn-lt"/>
            </a:endParaRPr>
          </a:p>
        </p:txBody>
      </p:sp>
      <p:sp>
        <p:nvSpPr>
          <p:cNvPr id="40" name="Rectangle 39">
            <a:extLst>
              <a:ext uri="{FF2B5EF4-FFF2-40B4-BE49-F238E27FC236}">
                <a16:creationId xmlns:a16="http://schemas.microsoft.com/office/drawing/2014/main" id="{E4B40B8B-9C37-ABA7-C588-DE4CBA19C757}"/>
              </a:ext>
            </a:extLst>
          </p:cNvPr>
          <p:cNvSpPr/>
          <p:nvPr>
            <p:custDataLst>
              <p:tags r:id="rId7"/>
            </p:custDataLst>
          </p:nvPr>
        </p:nvSpPr>
        <p:spPr bwMode="auto">
          <a:xfrm>
            <a:off x="10531475" y="5143500"/>
            <a:ext cx="5095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F2F86119-C9FB-4BC8-878C-339788FEE0AC}" type="datetime'''''''''D''''''''''''''''''''''''e''''c''''''''-''''2''1'''">
              <a:rPr lang="en-GB" altLang="en-US" sz="1200" b="1" smtClean="0">
                <a:solidFill>
                  <a:schemeClr val="tx2"/>
                </a:solidFill>
              </a:rPr>
              <a:pPr/>
              <a:t>Dec-21</a:t>
            </a:fld>
            <a:endParaRPr lang="en-US" sz="1200" b="1" dirty="0">
              <a:solidFill>
                <a:schemeClr val="tx2"/>
              </a:solidFill>
              <a:sym typeface="+mn-lt"/>
            </a:endParaRPr>
          </a:p>
        </p:txBody>
      </p:sp>
      <p:sp>
        <p:nvSpPr>
          <p:cNvPr id="43" name="Rectangle 42">
            <a:extLst>
              <a:ext uri="{FF2B5EF4-FFF2-40B4-BE49-F238E27FC236}">
                <a16:creationId xmlns:a16="http://schemas.microsoft.com/office/drawing/2014/main" id="{04792DAC-FF82-EF43-1332-CD984E53EAA6}"/>
              </a:ext>
            </a:extLst>
          </p:cNvPr>
          <p:cNvSpPr/>
          <p:nvPr>
            <p:custDataLst>
              <p:tags r:id="rId8"/>
            </p:custDataLst>
          </p:nvPr>
        </p:nvSpPr>
        <p:spPr bwMode="auto">
          <a:xfrm>
            <a:off x="9072563" y="5143500"/>
            <a:ext cx="509588"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spcBef>
                <a:spcPct val="0"/>
              </a:spcBef>
              <a:spcAft>
                <a:spcPct val="0"/>
              </a:spcAft>
            </a:pPr>
            <a:fld id="{4FF9141F-EF5B-4B1D-A01F-5608864DFEE5}" type="datetime'''''''D''''ec''''''-1''''7'''''''''''''''''''''''''''''">
              <a:rPr lang="en-GB" altLang="en-US" sz="1200" b="1" smtClean="0">
                <a:solidFill>
                  <a:schemeClr val="tx2"/>
                </a:solidFill>
              </a:rPr>
              <a:pPr/>
              <a:t>Dec-17</a:t>
            </a:fld>
            <a:endParaRPr lang="en-US" sz="1200" b="1" dirty="0">
              <a:solidFill>
                <a:schemeClr val="tx2"/>
              </a:solidFill>
              <a:sym typeface="+mn-lt"/>
            </a:endParaRPr>
          </a:p>
        </p:txBody>
      </p:sp>
      <p:sp>
        <p:nvSpPr>
          <p:cNvPr id="44" name="TextBox 43">
            <a:extLst>
              <a:ext uri="{FF2B5EF4-FFF2-40B4-BE49-F238E27FC236}">
                <a16:creationId xmlns:a16="http://schemas.microsoft.com/office/drawing/2014/main" id="{00CB808C-A632-349B-58DC-A1177DD5C6BC}"/>
              </a:ext>
            </a:extLst>
          </p:cNvPr>
          <p:cNvSpPr txBox="1"/>
          <p:nvPr/>
        </p:nvSpPr>
        <p:spPr>
          <a:xfrm>
            <a:off x="8745538" y="1084306"/>
            <a:ext cx="2456570" cy="246221"/>
          </a:xfrm>
          <a:prstGeom prst="rect">
            <a:avLst/>
          </a:prstGeom>
        </p:spPr>
        <p:txBody>
          <a:bodyPr vert="horz" wrap="none" lIns="0" tIns="0" rIns="0" bIns="0" rtlCol="0" anchor="t" anchorCtr="0">
            <a:spAutoFit/>
          </a:bodyPr>
          <a:lstStyle/>
          <a:p>
            <a:r>
              <a:rPr lang="en-US" sz="1600" b="1" dirty="0">
                <a:solidFill>
                  <a:schemeClr val="bg2"/>
                </a:solidFill>
              </a:rPr>
              <a:t>MOBILE LTE COVERAGE</a:t>
            </a:r>
          </a:p>
        </p:txBody>
      </p:sp>
      <p:sp>
        <p:nvSpPr>
          <p:cNvPr id="45" name="TextBox 44">
            <a:extLst>
              <a:ext uri="{FF2B5EF4-FFF2-40B4-BE49-F238E27FC236}">
                <a16:creationId xmlns:a16="http://schemas.microsoft.com/office/drawing/2014/main" id="{CEF9CCB0-B40D-FE03-5892-0B445F864B4D}"/>
              </a:ext>
            </a:extLst>
          </p:cNvPr>
          <p:cNvSpPr txBox="1"/>
          <p:nvPr/>
        </p:nvSpPr>
        <p:spPr>
          <a:xfrm>
            <a:off x="9158746" y="1362691"/>
            <a:ext cx="1407437" cy="153888"/>
          </a:xfrm>
          <a:prstGeom prst="rect">
            <a:avLst/>
          </a:prstGeom>
        </p:spPr>
        <p:txBody>
          <a:bodyPr vert="horz" wrap="none" lIns="0" tIns="0" rIns="0" bIns="0" rtlCol="0" anchor="t" anchorCtr="0">
            <a:spAutoFit/>
          </a:bodyPr>
          <a:lstStyle/>
          <a:p>
            <a:r>
              <a:rPr lang="en-US" sz="1000" dirty="0">
                <a:solidFill>
                  <a:schemeClr val="accent6">
                    <a:lumMod val="50000"/>
                  </a:schemeClr>
                </a:solidFill>
              </a:rPr>
              <a:t>% OF SITES WITH LTE</a:t>
            </a:r>
          </a:p>
        </p:txBody>
      </p:sp>
      <p:sp>
        <p:nvSpPr>
          <p:cNvPr id="69" name="Hexagon 68">
            <a:extLst>
              <a:ext uri="{FF2B5EF4-FFF2-40B4-BE49-F238E27FC236}">
                <a16:creationId xmlns:a16="http://schemas.microsoft.com/office/drawing/2014/main" id="{059E1EB9-966D-C2D6-4746-ADC988853DBA}"/>
              </a:ext>
            </a:extLst>
          </p:cNvPr>
          <p:cNvSpPr/>
          <p:nvPr/>
        </p:nvSpPr>
        <p:spPr>
          <a:xfrm>
            <a:off x="2911475" y="5008563"/>
            <a:ext cx="820738" cy="649288"/>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68" name="Rectangle 67">
            <a:extLst>
              <a:ext uri="{FF2B5EF4-FFF2-40B4-BE49-F238E27FC236}">
                <a16:creationId xmlns:a16="http://schemas.microsoft.com/office/drawing/2014/main" id="{D163E61B-42E7-8575-2107-366DD8FFE928}"/>
              </a:ext>
            </a:extLst>
          </p:cNvPr>
          <p:cNvSpPr/>
          <p:nvPr/>
        </p:nvSpPr>
        <p:spPr>
          <a:xfrm>
            <a:off x="2835275" y="5083175"/>
            <a:ext cx="1025525" cy="460375"/>
          </a:xfrm>
          <a:prstGeom prst="rect">
            <a:avLst/>
          </a:prstGeom>
          <a:ln>
            <a:noFill/>
          </a:ln>
        </p:spPr>
        <p:txBody>
          <a:bodyPr wrap="square">
            <a:spAutoFit/>
          </a:bodyPr>
          <a:lstStyle/>
          <a:p>
            <a:pPr algn="ctr"/>
            <a:r>
              <a:rPr lang="en-US" sz="1200" b="1" dirty="0">
                <a:solidFill>
                  <a:schemeClr val="bg1"/>
                </a:solidFill>
              </a:rPr>
              <a:t>72% </a:t>
            </a:r>
          </a:p>
          <a:p>
            <a:pPr algn="ctr"/>
            <a:r>
              <a:rPr lang="en-US" sz="1200" b="1" dirty="0">
                <a:solidFill>
                  <a:schemeClr val="bg1"/>
                </a:solidFill>
              </a:rPr>
              <a:t>2W HFC</a:t>
            </a:r>
          </a:p>
        </p:txBody>
      </p:sp>
      <p:sp>
        <p:nvSpPr>
          <p:cNvPr id="74" name="Hexagon 73">
            <a:extLst>
              <a:ext uri="{FF2B5EF4-FFF2-40B4-BE49-F238E27FC236}">
                <a16:creationId xmlns:a16="http://schemas.microsoft.com/office/drawing/2014/main" id="{A7E2990F-5C8A-D51A-FB2A-4E06F21A3901}"/>
              </a:ext>
            </a:extLst>
          </p:cNvPr>
          <p:cNvSpPr/>
          <p:nvPr/>
        </p:nvSpPr>
        <p:spPr>
          <a:xfrm>
            <a:off x="327025" y="4694238"/>
            <a:ext cx="819150" cy="649288"/>
          </a:xfrm>
          <a:prstGeom prst="hexagon">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75" name="Rectangle 74">
            <a:extLst>
              <a:ext uri="{FF2B5EF4-FFF2-40B4-BE49-F238E27FC236}">
                <a16:creationId xmlns:a16="http://schemas.microsoft.com/office/drawing/2014/main" id="{5EA66F5B-B9A3-5908-8D72-BA62F5B75D0E}"/>
              </a:ext>
            </a:extLst>
          </p:cNvPr>
          <p:cNvSpPr/>
          <p:nvPr/>
        </p:nvSpPr>
        <p:spPr>
          <a:xfrm>
            <a:off x="238125" y="4672013"/>
            <a:ext cx="1025525" cy="646113"/>
          </a:xfrm>
          <a:prstGeom prst="rect">
            <a:avLst/>
          </a:prstGeom>
          <a:ln>
            <a:noFill/>
          </a:ln>
        </p:spPr>
        <p:txBody>
          <a:bodyPr wrap="square">
            <a:spAutoFit/>
          </a:bodyPr>
          <a:lstStyle/>
          <a:p>
            <a:pPr algn="ctr">
              <a:spcBef>
                <a:spcPts val="600"/>
              </a:spcBef>
            </a:pPr>
            <a:r>
              <a:rPr lang="en-US" sz="1200" b="1" dirty="0">
                <a:solidFill>
                  <a:schemeClr val="bg1"/>
                </a:solidFill>
              </a:rPr>
              <a:t>8% </a:t>
            </a:r>
          </a:p>
          <a:p>
            <a:pPr algn="ctr"/>
            <a:r>
              <a:rPr lang="en-US" sz="1200" b="1" dirty="0">
                <a:solidFill>
                  <a:schemeClr val="bg1"/>
                </a:solidFill>
              </a:rPr>
              <a:t>Copper  1W HFC</a:t>
            </a:r>
          </a:p>
        </p:txBody>
      </p:sp>
      <p:sp>
        <p:nvSpPr>
          <p:cNvPr id="76" name="Hexagon 75">
            <a:extLst>
              <a:ext uri="{FF2B5EF4-FFF2-40B4-BE49-F238E27FC236}">
                <a16:creationId xmlns:a16="http://schemas.microsoft.com/office/drawing/2014/main" id="{794734F5-9F0A-E1E5-B12F-6F46E5F8BE83}"/>
              </a:ext>
            </a:extLst>
          </p:cNvPr>
          <p:cNvSpPr/>
          <p:nvPr/>
        </p:nvSpPr>
        <p:spPr>
          <a:xfrm>
            <a:off x="309563" y="1990725"/>
            <a:ext cx="819150" cy="649288"/>
          </a:xfrm>
          <a:prstGeom prst="hexagon">
            <a:avLst/>
          </a:prstGeom>
          <a:solidFill>
            <a:schemeClr val="accent3"/>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77" name="Rectangle 76">
            <a:extLst>
              <a:ext uri="{FF2B5EF4-FFF2-40B4-BE49-F238E27FC236}">
                <a16:creationId xmlns:a16="http://schemas.microsoft.com/office/drawing/2014/main" id="{6A39332D-94D8-13DA-0C89-04A05DD69D37}"/>
              </a:ext>
            </a:extLst>
          </p:cNvPr>
          <p:cNvSpPr/>
          <p:nvPr/>
        </p:nvSpPr>
        <p:spPr>
          <a:xfrm>
            <a:off x="233363" y="2065338"/>
            <a:ext cx="1025525" cy="461963"/>
          </a:xfrm>
          <a:prstGeom prst="rect">
            <a:avLst/>
          </a:prstGeom>
          <a:ln>
            <a:noFill/>
          </a:ln>
        </p:spPr>
        <p:txBody>
          <a:bodyPr wrap="square">
            <a:spAutoFit/>
          </a:bodyPr>
          <a:lstStyle/>
          <a:p>
            <a:pPr algn="ctr"/>
            <a:r>
              <a:rPr lang="en-US" sz="1200" b="1" dirty="0">
                <a:solidFill>
                  <a:schemeClr val="bg1"/>
                </a:solidFill>
              </a:rPr>
              <a:t>20% </a:t>
            </a:r>
          </a:p>
          <a:p>
            <a:pPr algn="ctr"/>
            <a:r>
              <a:rPr lang="en-US" sz="1200" b="1" dirty="0">
                <a:solidFill>
                  <a:schemeClr val="bg1"/>
                </a:solidFill>
              </a:rPr>
              <a:t>FTTH</a:t>
            </a:r>
          </a:p>
        </p:txBody>
      </p:sp>
      <p:pic>
        <p:nvPicPr>
          <p:cNvPr id="203" name="Picture 202">
            <a:extLst>
              <a:ext uri="{FF2B5EF4-FFF2-40B4-BE49-F238E27FC236}">
                <a16:creationId xmlns:a16="http://schemas.microsoft.com/office/drawing/2014/main" id="{F72A55BD-B0E1-05A4-5333-149B7F7C6ADC}"/>
              </a:ext>
            </a:extLst>
          </p:cNvPr>
          <p:cNvPicPr>
            <a:picLocks noChangeAspect="1"/>
          </p:cNvPicPr>
          <p:nvPr/>
        </p:nvPicPr>
        <p:blipFill>
          <a:blip r:embed="rId19" cstate="email">
            <a:extLst>
              <a:ext uri="{28A0092B-C50C-407E-A947-70E740481C1C}">
                <a14:useLocalDpi xmlns:a14="http://schemas.microsoft.com/office/drawing/2010/main"/>
              </a:ext>
            </a:extLst>
          </a:blip>
          <a:stretch>
            <a:fillRect/>
          </a:stretch>
        </p:blipFill>
        <p:spPr>
          <a:xfrm>
            <a:off x="9021790" y="5549007"/>
            <a:ext cx="1187179" cy="469555"/>
          </a:xfrm>
          <a:prstGeom prst="rect">
            <a:avLst/>
          </a:prstGeom>
        </p:spPr>
      </p:pic>
      <p:sp>
        <p:nvSpPr>
          <p:cNvPr id="204" name="Title 1">
            <a:extLst>
              <a:ext uri="{FF2B5EF4-FFF2-40B4-BE49-F238E27FC236}">
                <a16:creationId xmlns:a16="http://schemas.microsoft.com/office/drawing/2014/main" id="{BD26BB14-1F08-79C9-FD33-B36C4C74676E}"/>
              </a:ext>
            </a:extLst>
          </p:cNvPr>
          <p:cNvSpPr txBox="1">
            <a:spLocks/>
          </p:cNvSpPr>
          <p:nvPr/>
        </p:nvSpPr>
        <p:spPr>
          <a:xfrm>
            <a:off x="7618" y="6412"/>
            <a:ext cx="90855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Investing in High-Speed Connectivity</a:t>
            </a:r>
          </a:p>
          <a:p>
            <a:endParaRPr lang="en-US" sz="2800" dirty="0"/>
          </a:p>
        </p:txBody>
      </p:sp>
      <p:sp>
        <p:nvSpPr>
          <p:cNvPr id="219" name="Rectangle 218">
            <a:extLst>
              <a:ext uri="{FF2B5EF4-FFF2-40B4-BE49-F238E27FC236}">
                <a16:creationId xmlns:a16="http://schemas.microsoft.com/office/drawing/2014/main" id="{972648B9-5D40-D6DF-7F88-B006A7FD42E8}"/>
              </a:ext>
            </a:extLst>
          </p:cNvPr>
          <p:cNvSpPr/>
          <p:nvPr/>
        </p:nvSpPr>
        <p:spPr>
          <a:xfrm>
            <a:off x="4011612" y="1023938"/>
            <a:ext cx="4068763" cy="5370513"/>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0" name="TextBox 219">
            <a:extLst>
              <a:ext uri="{FF2B5EF4-FFF2-40B4-BE49-F238E27FC236}">
                <a16:creationId xmlns:a16="http://schemas.microsoft.com/office/drawing/2014/main" id="{9B4E547E-30A4-B8C1-40D7-9DAFC9493610}"/>
              </a:ext>
            </a:extLst>
          </p:cNvPr>
          <p:cNvSpPr txBox="1"/>
          <p:nvPr/>
        </p:nvSpPr>
        <p:spPr>
          <a:xfrm>
            <a:off x="4327524" y="1086777"/>
            <a:ext cx="3386312" cy="246221"/>
          </a:xfrm>
          <a:prstGeom prst="rect">
            <a:avLst/>
          </a:prstGeom>
        </p:spPr>
        <p:txBody>
          <a:bodyPr vert="horz" wrap="none" lIns="0" tIns="0" rIns="0" bIns="0" rtlCol="0" anchor="t" anchorCtr="0">
            <a:spAutoFit/>
          </a:bodyPr>
          <a:lstStyle/>
          <a:p>
            <a:r>
              <a:rPr lang="en-US" sz="1600" b="1" dirty="0">
                <a:solidFill>
                  <a:schemeClr val="bg2"/>
                </a:solidFill>
              </a:rPr>
              <a:t>NETWORK EXPANSION/UPGRADE</a:t>
            </a:r>
          </a:p>
        </p:txBody>
      </p:sp>
      <p:sp>
        <p:nvSpPr>
          <p:cNvPr id="221" name="TextBox 220">
            <a:extLst>
              <a:ext uri="{FF2B5EF4-FFF2-40B4-BE49-F238E27FC236}">
                <a16:creationId xmlns:a16="http://schemas.microsoft.com/office/drawing/2014/main" id="{4F41B895-BB55-7079-B60F-558978624422}"/>
              </a:ext>
            </a:extLst>
          </p:cNvPr>
          <p:cNvSpPr txBox="1"/>
          <p:nvPr/>
        </p:nvSpPr>
        <p:spPr>
          <a:xfrm>
            <a:off x="4850693" y="1371104"/>
            <a:ext cx="2339975" cy="153988"/>
          </a:xfrm>
          <a:prstGeom prst="rect">
            <a:avLst/>
          </a:prstGeom>
        </p:spPr>
        <p:txBody>
          <a:bodyPr vert="horz" wrap="none" lIns="0" tIns="0" rIns="0" bIns="0" rtlCol="0" anchor="t" anchorCtr="0">
            <a:spAutoFit/>
          </a:bodyPr>
          <a:lstStyle/>
          <a:p>
            <a:r>
              <a:rPr lang="en-US" sz="1000" dirty="0">
                <a:solidFill>
                  <a:schemeClr val="accent6">
                    <a:lumMod val="50000"/>
                  </a:schemeClr>
                </a:solidFill>
              </a:rPr>
              <a:t>HOMES PASSED AND UPGRADED (K))</a:t>
            </a:r>
          </a:p>
        </p:txBody>
      </p:sp>
      <p:graphicFrame>
        <p:nvGraphicFramePr>
          <p:cNvPr id="245" name="Chart 244">
            <a:extLst>
              <a:ext uri="{FF2B5EF4-FFF2-40B4-BE49-F238E27FC236}">
                <a16:creationId xmlns:a16="http://schemas.microsoft.com/office/drawing/2014/main" id="{760FE8F4-D60E-29DF-8AEB-E668C2E94230}"/>
              </a:ext>
            </a:extLst>
          </p:cNvPr>
          <p:cNvGraphicFramePr/>
          <p:nvPr>
            <p:custDataLst>
              <p:tags r:id="rId9"/>
            </p:custDataLst>
            <p:extLst>
              <p:ext uri="{D42A27DB-BD31-4B8C-83A1-F6EECF244321}">
                <p14:modId xmlns:p14="http://schemas.microsoft.com/office/powerpoint/2010/main" val="1177787048"/>
              </p:ext>
            </p:extLst>
          </p:nvPr>
        </p:nvGraphicFramePr>
        <p:xfrm>
          <a:off x="4592638" y="2116138"/>
          <a:ext cx="2743200" cy="3681412"/>
        </p:xfrm>
        <a:graphic>
          <a:graphicData uri="http://schemas.openxmlformats.org/drawingml/2006/chart">
            <c:chart xmlns:c="http://schemas.openxmlformats.org/drawingml/2006/chart" xmlns:r="http://schemas.openxmlformats.org/officeDocument/2006/relationships" r:id="rId20"/>
          </a:graphicData>
        </a:graphic>
      </p:graphicFrame>
      <p:sp>
        <p:nvSpPr>
          <p:cNvPr id="223" name="Rectangle 222">
            <a:extLst>
              <a:ext uri="{FF2B5EF4-FFF2-40B4-BE49-F238E27FC236}">
                <a16:creationId xmlns:a16="http://schemas.microsoft.com/office/drawing/2014/main" id="{018DEED6-6E41-F9CE-D0C3-212212077D74}"/>
              </a:ext>
            </a:extLst>
          </p:cNvPr>
          <p:cNvSpPr/>
          <p:nvPr>
            <p:custDataLst>
              <p:tags r:id="rId10"/>
            </p:custDataLst>
          </p:nvPr>
        </p:nvSpPr>
        <p:spPr bwMode="auto">
          <a:xfrm>
            <a:off x="4237038" y="5184775"/>
            <a:ext cx="3365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E7F8D255-565E-4EA5-B74D-CB606AA00237}" type="datetime'''''2''''''''0''2''''1'">
              <a:rPr lang="en-GB" altLang="en-US" sz="1200" smtClean="0">
                <a:solidFill>
                  <a:schemeClr val="tx1"/>
                </a:solidFill>
              </a:rPr>
              <a:pPr/>
              <a:t>2021</a:t>
            </a:fld>
            <a:endParaRPr lang="en-PA" sz="1200">
              <a:solidFill>
                <a:schemeClr val="tx1"/>
              </a:solidFill>
            </a:endParaRPr>
          </a:p>
        </p:txBody>
      </p:sp>
      <p:sp>
        <p:nvSpPr>
          <p:cNvPr id="225" name="Rectangle 224">
            <a:extLst>
              <a:ext uri="{FF2B5EF4-FFF2-40B4-BE49-F238E27FC236}">
                <a16:creationId xmlns:a16="http://schemas.microsoft.com/office/drawing/2014/main" id="{EB9E5328-B80D-6B9D-7284-19849564FC21}"/>
              </a:ext>
            </a:extLst>
          </p:cNvPr>
          <p:cNvSpPr/>
          <p:nvPr>
            <p:custDataLst>
              <p:tags r:id="rId11"/>
            </p:custDataLst>
          </p:nvPr>
        </p:nvSpPr>
        <p:spPr bwMode="auto">
          <a:xfrm>
            <a:off x="4237038" y="3427413"/>
            <a:ext cx="3365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5111CB92-3ADC-47A2-8129-027066178DC2}" type="datetime'''20''''''''''1''''''''''''''9'''''''''''''">
              <a:rPr lang="en-GB" altLang="en-US" sz="1200" smtClean="0">
                <a:solidFill>
                  <a:schemeClr val="tx1"/>
                </a:solidFill>
              </a:rPr>
              <a:pPr/>
              <a:t>2019</a:t>
            </a:fld>
            <a:endParaRPr lang="en-PA" sz="1200">
              <a:solidFill>
                <a:schemeClr val="tx1"/>
              </a:solidFill>
            </a:endParaRPr>
          </a:p>
        </p:txBody>
      </p:sp>
      <p:sp>
        <p:nvSpPr>
          <p:cNvPr id="226" name="Rectangle 225">
            <a:extLst>
              <a:ext uri="{FF2B5EF4-FFF2-40B4-BE49-F238E27FC236}">
                <a16:creationId xmlns:a16="http://schemas.microsoft.com/office/drawing/2014/main" id="{ED18B707-F440-2253-BEA7-1FD992394809}"/>
              </a:ext>
            </a:extLst>
          </p:cNvPr>
          <p:cNvSpPr/>
          <p:nvPr>
            <p:custDataLst>
              <p:tags r:id="rId12"/>
            </p:custDataLst>
          </p:nvPr>
        </p:nvSpPr>
        <p:spPr bwMode="auto">
          <a:xfrm>
            <a:off x="4237038" y="2547938"/>
            <a:ext cx="3365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00B81930-8078-442F-BBB9-15FE00DBEF5A}" type="datetime'''''''201''''''''''''''''''''''''''''''8'''''''''''''''''">
              <a:rPr lang="en-GB" altLang="en-US" sz="1200" smtClean="0">
                <a:solidFill>
                  <a:schemeClr val="tx1"/>
                </a:solidFill>
              </a:rPr>
              <a:pPr/>
              <a:t>2018</a:t>
            </a:fld>
            <a:endParaRPr lang="en-PA" sz="1200">
              <a:solidFill>
                <a:schemeClr val="tx1"/>
              </a:solidFill>
            </a:endParaRPr>
          </a:p>
        </p:txBody>
      </p:sp>
      <p:sp>
        <p:nvSpPr>
          <p:cNvPr id="224" name="Rectangle 223">
            <a:extLst>
              <a:ext uri="{FF2B5EF4-FFF2-40B4-BE49-F238E27FC236}">
                <a16:creationId xmlns:a16="http://schemas.microsoft.com/office/drawing/2014/main" id="{571D3AF8-6578-5430-03B4-88BEECA1D0FD}"/>
              </a:ext>
            </a:extLst>
          </p:cNvPr>
          <p:cNvSpPr/>
          <p:nvPr>
            <p:custDataLst>
              <p:tags r:id="rId13"/>
            </p:custDataLst>
          </p:nvPr>
        </p:nvSpPr>
        <p:spPr bwMode="auto">
          <a:xfrm>
            <a:off x="4237038" y="4305300"/>
            <a:ext cx="336550" cy="182563"/>
          </a:xfrm>
          <a:prstGeom prst="rect">
            <a:avLst/>
          </a:prstGeom>
          <a:noFill/>
          <a:ln w="12700" cap="flat" cmpd="sng" algn="ctr">
            <a:no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r">
              <a:spcBef>
                <a:spcPct val="0"/>
              </a:spcBef>
              <a:spcAft>
                <a:spcPct val="0"/>
              </a:spcAft>
            </a:pPr>
            <a:fld id="{B27EA3F7-B241-40C8-8122-C78631DC04D3}" type="datetime'''''''2''''0''''2''''''0'''''''''''''''''''">
              <a:rPr lang="en-GB" altLang="en-US" sz="1200" smtClean="0">
                <a:solidFill>
                  <a:schemeClr val="tx1"/>
                </a:solidFill>
              </a:rPr>
              <a:pPr/>
              <a:t>2020</a:t>
            </a:fld>
            <a:endParaRPr lang="en-PA" sz="1200">
              <a:solidFill>
                <a:schemeClr val="tx1"/>
              </a:solidFill>
            </a:endParaRPr>
          </a:p>
        </p:txBody>
      </p:sp>
      <p:sp>
        <p:nvSpPr>
          <p:cNvPr id="227" name="Hexagon 226">
            <a:extLst>
              <a:ext uri="{FF2B5EF4-FFF2-40B4-BE49-F238E27FC236}">
                <a16:creationId xmlns:a16="http://schemas.microsoft.com/office/drawing/2014/main" id="{68E4BB26-7D39-A263-3321-C099A13F2CCA}"/>
              </a:ext>
            </a:extLst>
          </p:cNvPr>
          <p:cNvSpPr/>
          <p:nvPr/>
        </p:nvSpPr>
        <p:spPr>
          <a:xfrm>
            <a:off x="7473950" y="2427288"/>
            <a:ext cx="506413" cy="417513"/>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228" name="Rectangle 227">
            <a:extLst>
              <a:ext uri="{FF2B5EF4-FFF2-40B4-BE49-F238E27FC236}">
                <a16:creationId xmlns:a16="http://schemas.microsoft.com/office/drawing/2014/main" id="{2337157E-69D5-0088-28BB-D0E52CB371D4}"/>
              </a:ext>
            </a:extLst>
          </p:cNvPr>
          <p:cNvSpPr/>
          <p:nvPr/>
        </p:nvSpPr>
        <p:spPr>
          <a:xfrm>
            <a:off x="7421563" y="2497138"/>
            <a:ext cx="635000" cy="277813"/>
          </a:xfrm>
          <a:prstGeom prst="rect">
            <a:avLst/>
          </a:prstGeom>
          <a:ln>
            <a:noFill/>
          </a:ln>
        </p:spPr>
        <p:txBody>
          <a:bodyPr wrap="square">
            <a:spAutoFit/>
          </a:bodyPr>
          <a:lstStyle/>
          <a:p>
            <a:pPr algn="ctr"/>
            <a:r>
              <a:rPr lang="en-US" sz="1200" b="1" dirty="0">
                <a:solidFill>
                  <a:schemeClr val="bg1"/>
                </a:solidFill>
              </a:rPr>
              <a:t>6%</a:t>
            </a:r>
          </a:p>
        </p:txBody>
      </p:sp>
      <p:sp>
        <p:nvSpPr>
          <p:cNvPr id="229" name="Hexagon 228">
            <a:extLst>
              <a:ext uri="{FF2B5EF4-FFF2-40B4-BE49-F238E27FC236}">
                <a16:creationId xmlns:a16="http://schemas.microsoft.com/office/drawing/2014/main" id="{86A1A874-3B01-D46E-A793-40BA600E13F3}"/>
              </a:ext>
            </a:extLst>
          </p:cNvPr>
          <p:cNvSpPr/>
          <p:nvPr/>
        </p:nvSpPr>
        <p:spPr>
          <a:xfrm>
            <a:off x="7473950" y="3260725"/>
            <a:ext cx="506413" cy="417513"/>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230" name="Rectangle 229">
            <a:extLst>
              <a:ext uri="{FF2B5EF4-FFF2-40B4-BE49-F238E27FC236}">
                <a16:creationId xmlns:a16="http://schemas.microsoft.com/office/drawing/2014/main" id="{44C24551-0E7A-B99F-5BCB-76BC4A09C4E8}"/>
              </a:ext>
            </a:extLst>
          </p:cNvPr>
          <p:cNvSpPr/>
          <p:nvPr/>
        </p:nvSpPr>
        <p:spPr>
          <a:xfrm>
            <a:off x="7421563" y="3330575"/>
            <a:ext cx="635000" cy="277813"/>
          </a:xfrm>
          <a:prstGeom prst="rect">
            <a:avLst/>
          </a:prstGeom>
          <a:ln>
            <a:noFill/>
          </a:ln>
        </p:spPr>
        <p:txBody>
          <a:bodyPr wrap="square">
            <a:spAutoFit/>
          </a:bodyPr>
          <a:lstStyle/>
          <a:p>
            <a:pPr algn="ctr"/>
            <a:r>
              <a:rPr lang="en-US" sz="1200" b="1" dirty="0">
                <a:solidFill>
                  <a:schemeClr val="bg1"/>
                </a:solidFill>
              </a:rPr>
              <a:t>21%</a:t>
            </a:r>
          </a:p>
        </p:txBody>
      </p:sp>
      <p:sp>
        <p:nvSpPr>
          <p:cNvPr id="231" name="Hexagon 230">
            <a:extLst>
              <a:ext uri="{FF2B5EF4-FFF2-40B4-BE49-F238E27FC236}">
                <a16:creationId xmlns:a16="http://schemas.microsoft.com/office/drawing/2014/main" id="{4EBE5ADE-FAE4-6261-7EC7-A05574302F82}"/>
              </a:ext>
            </a:extLst>
          </p:cNvPr>
          <p:cNvSpPr/>
          <p:nvPr/>
        </p:nvSpPr>
        <p:spPr>
          <a:xfrm>
            <a:off x="7481888" y="4102100"/>
            <a:ext cx="506413" cy="417513"/>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232" name="Rectangle 231">
            <a:extLst>
              <a:ext uri="{FF2B5EF4-FFF2-40B4-BE49-F238E27FC236}">
                <a16:creationId xmlns:a16="http://schemas.microsoft.com/office/drawing/2014/main" id="{FBDBD278-DD67-CB15-0561-93428650956A}"/>
              </a:ext>
            </a:extLst>
          </p:cNvPr>
          <p:cNvSpPr/>
          <p:nvPr/>
        </p:nvSpPr>
        <p:spPr>
          <a:xfrm>
            <a:off x="7429500" y="4171950"/>
            <a:ext cx="633413" cy="277813"/>
          </a:xfrm>
          <a:prstGeom prst="rect">
            <a:avLst/>
          </a:prstGeom>
          <a:ln>
            <a:noFill/>
          </a:ln>
        </p:spPr>
        <p:txBody>
          <a:bodyPr wrap="square">
            <a:spAutoFit/>
          </a:bodyPr>
          <a:lstStyle/>
          <a:p>
            <a:pPr algn="ctr"/>
            <a:r>
              <a:rPr lang="en-US" sz="1200" b="1" dirty="0">
                <a:solidFill>
                  <a:schemeClr val="bg1"/>
                </a:solidFill>
              </a:rPr>
              <a:t>83%</a:t>
            </a:r>
          </a:p>
        </p:txBody>
      </p:sp>
      <p:sp>
        <p:nvSpPr>
          <p:cNvPr id="233" name="Hexagon 232">
            <a:extLst>
              <a:ext uri="{FF2B5EF4-FFF2-40B4-BE49-F238E27FC236}">
                <a16:creationId xmlns:a16="http://schemas.microsoft.com/office/drawing/2014/main" id="{FD72FCB2-92E8-6F47-AB44-083ED03B6508}"/>
              </a:ext>
            </a:extLst>
          </p:cNvPr>
          <p:cNvSpPr/>
          <p:nvPr/>
        </p:nvSpPr>
        <p:spPr>
          <a:xfrm>
            <a:off x="7473950" y="4999038"/>
            <a:ext cx="508000" cy="417513"/>
          </a:xfrm>
          <a:prstGeom prst="hexagon">
            <a:avLst/>
          </a:prstGeom>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PA"/>
          </a:p>
        </p:txBody>
      </p:sp>
      <p:sp>
        <p:nvSpPr>
          <p:cNvPr id="234" name="Rectangle 233">
            <a:extLst>
              <a:ext uri="{FF2B5EF4-FFF2-40B4-BE49-F238E27FC236}">
                <a16:creationId xmlns:a16="http://schemas.microsoft.com/office/drawing/2014/main" id="{0F0ADEA4-B0C0-B8F7-01D5-4447A995F5BD}"/>
              </a:ext>
            </a:extLst>
          </p:cNvPr>
          <p:cNvSpPr/>
          <p:nvPr/>
        </p:nvSpPr>
        <p:spPr>
          <a:xfrm>
            <a:off x="7423150" y="5068888"/>
            <a:ext cx="633413" cy="277813"/>
          </a:xfrm>
          <a:prstGeom prst="rect">
            <a:avLst/>
          </a:prstGeom>
          <a:ln>
            <a:noFill/>
          </a:ln>
        </p:spPr>
        <p:txBody>
          <a:bodyPr wrap="square">
            <a:spAutoFit/>
          </a:bodyPr>
          <a:lstStyle/>
          <a:p>
            <a:pPr algn="ctr"/>
            <a:r>
              <a:rPr lang="en-US" sz="1200" b="1" dirty="0">
                <a:solidFill>
                  <a:schemeClr val="bg1"/>
                </a:solidFill>
              </a:rPr>
              <a:t>99%</a:t>
            </a:r>
          </a:p>
        </p:txBody>
      </p:sp>
      <p:sp>
        <p:nvSpPr>
          <p:cNvPr id="235" name="TextBox 234">
            <a:extLst>
              <a:ext uri="{FF2B5EF4-FFF2-40B4-BE49-F238E27FC236}">
                <a16:creationId xmlns:a16="http://schemas.microsoft.com/office/drawing/2014/main" id="{0C3D08BD-8790-E8F8-C031-E810E8AD4EA9}"/>
              </a:ext>
            </a:extLst>
          </p:cNvPr>
          <p:cNvSpPr txBox="1"/>
          <p:nvPr/>
        </p:nvSpPr>
        <p:spPr>
          <a:xfrm>
            <a:off x="7351713" y="1952625"/>
            <a:ext cx="728663" cy="246063"/>
          </a:xfrm>
          <a:prstGeom prst="rect">
            <a:avLst/>
          </a:prstGeom>
          <a:noFill/>
        </p:spPr>
        <p:txBody>
          <a:bodyPr wrap="square">
            <a:spAutoFit/>
          </a:bodyPr>
          <a:lstStyle/>
          <a:p>
            <a:r>
              <a:rPr lang="en-US" sz="1000" dirty="0">
                <a:solidFill>
                  <a:schemeClr val="accent6">
                    <a:lumMod val="50000"/>
                  </a:schemeClr>
                </a:solidFill>
              </a:rPr>
              <a:t>% FTTH</a:t>
            </a:r>
            <a:endParaRPr lang="en-PA" sz="1000" dirty="0"/>
          </a:p>
        </p:txBody>
      </p:sp>
    </p:spTree>
    <p:extLst>
      <p:ext uri="{BB962C8B-B14F-4D97-AF65-F5344CB8AC3E}">
        <p14:creationId xmlns:p14="http://schemas.microsoft.com/office/powerpoint/2010/main" val="281982056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8E7A8DA-F807-D8CC-C737-182EAF764A37}"/>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07698" y="-39679"/>
            <a:ext cx="3750950" cy="3576637"/>
          </a:xfrm>
          <a:prstGeom prst="rect">
            <a:avLst/>
          </a:prstGeom>
        </p:spPr>
      </p:pic>
      <p:pic>
        <p:nvPicPr>
          <p:cNvPr id="5" name="Picture 4">
            <a:extLst>
              <a:ext uri="{FF2B5EF4-FFF2-40B4-BE49-F238E27FC236}">
                <a16:creationId xmlns:a16="http://schemas.microsoft.com/office/drawing/2014/main" id="{48035B1C-2D1B-93D8-0EC5-3E81FA64DE0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458648" y="-39679"/>
            <a:ext cx="3750950" cy="3812315"/>
          </a:xfrm>
          <a:prstGeom prst="rect">
            <a:avLst/>
          </a:prstGeom>
        </p:spPr>
      </p:pic>
      <p:pic>
        <p:nvPicPr>
          <p:cNvPr id="6" name="Picture 5">
            <a:extLst>
              <a:ext uri="{FF2B5EF4-FFF2-40B4-BE49-F238E27FC236}">
                <a16:creationId xmlns:a16="http://schemas.microsoft.com/office/drawing/2014/main" id="{86143AF3-CED5-90BF-81D0-3F95EAACB94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458648" y="3536958"/>
            <a:ext cx="3750950" cy="3321042"/>
          </a:xfrm>
          <a:prstGeom prst="rect">
            <a:avLst/>
          </a:prstGeom>
        </p:spPr>
      </p:pic>
      <p:pic>
        <p:nvPicPr>
          <p:cNvPr id="7" name="Picture 6">
            <a:extLst>
              <a:ext uri="{FF2B5EF4-FFF2-40B4-BE49-F238E27FC236}">
                <a16:creationId xmlns:a16="http://schemas.microsoft.com/office/drawing/2014/main" id="{0B7290B4-20AF-6554-93A9-2978F5D2050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718747" y="3536958"/>
            <a:ext cx="3739901" cy="3321042"/>
          </a:xfrm>
          <a:prstGeom prst="rect">
            <a:avLst/>
          </a:prstGeom>
        </p:spPr>
      </p:pic>
      <p:pic>
        <p:nvPicPr>
          <p:cNvPr id="8" name="Picture 7">
            <a:extLst>
              <a:ext uri="{FF2B5EF4-FFF2-40B4-BE49-F238E27FC236}">
                <a16:creationId xmlns:a16="http://schemas.microsoft.com/office/drawing/2014/main" id="{7A2049C3-E64B-B3FA-2DFF-D1DF1F960C0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9657" y="2735043"/>
            <a:ext cx="4768404" cy="4122957"/>
          </a:xfrm>
          <a:prstGeom prst="rect">
            <a:avLst/>
          </a:prstGeom>
        </p:spPr>
      </p:pic>
      <p:sp>
        <p:nvSpPr>
          <p:cNvPr id="9" name="Title 1">
            <a:extLst>
              <a:ext uri="{FF2B5EF4-FFF2-40B4-BE49-F238E27FC236}">
                <a16:creationId xmlns:a16="http://schemas.microsoft.com/office/drawing/2014/main" id="{89DE8781-C12C-485B-C776-641372EB3DD4}"/>
              </a:ext>
            </a:extLst>
          </p:cNvPr>
          <p:cNvSpPr txBox="1">
            <a:spLocks/>
          </p:cNvSpPr>
          <p:nvPr/>
        </p:nvSpPr>
        <p:spPr>
          <a:xfrm>
            <a:off x="7618" y="6412"/>
            <a:ext cx="4700080"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Bridging the Digital Divide</a:t>
            </a:r>
          </a:p>
          <a:p>
            <a:endParaRPr lang="en-US" sz="2800" dirty="0"/>
          </a:p>
        </p:txBody>
      </p:sp>
    </p:spTree>
    <p:extLst>
      <p:ext uri="{BB962C8B-B14F-4D97-AF65-F5344CB8AC3E}">
        <p14:creationId xmlns:p14="http://schemas.microsoft.com/office/powerpoint/2010/main" val="19961840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descr="Advertorial | Flow connects over 500 communities to its fibre fast network  | News | Jamaica Gleaner">
            <a:extLst>
              <a:ext uri="{FF2B5EF4-FFF2-40B4-BE49-F238E27FC236}">
                <a16:creationId xmlns:a16="http://schemas.microsoft.com/office/drawing/2014/main" id="{BFBFABB3-3B89-0870-0A43-5134A9CD7984}"/>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0" y="547151"/>
            <a:ext cx="3188034" cy="2397402"/>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DOCSIS 3.1 Modem vs. 3.0 - Speeds, Testing, DOCSIS Migration | VIAVI">
            <a:extLst>
              <a:ext uri="{FF2B5EF4-FFF2-40B4-BE49-F238E27FC236}">
                <a16:creationId xmlns:a16="http://schemas.microsoft.com/office/drawing/2014/main" id="{90487DAD-8615-35BD-BC61-EF038539D483}"/>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0" y="3273977"/>
            <a:ext cx="2873830" cy="293836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6DD8EEC0-A5D2-4F4F-EA1D-7854794EC9A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87612" y="414467"/>
            <a:ext cx="2097741" cy="2796988"/>
          </a:xfrm>
          <a:prstGeom prst="rect">
            <a:avLst/>
          </a:prstGeom>
        </p:spPr>
      </p:pic>
      <p:pic>
        <p:nvPicPr>
          <p:cNvPr id="9226" name="Picture 10" descr="Cell Tower Infrastructure Solutions for 5G Macro Coverage">
            <a:extLst>
              <a:ext uri="{FF2B5EF4-FFF2-40B4-BE49-F238E27FC236}">
                <a16:creationId xmlns:a16="http://schemas.microsoft.com/office/drawing/2014/main" id="{63E435C1-0D6F-9B51-6B1D-6DB41876A36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723080" y="1620210"/>
            <a:ext cx="3540889" cy="3540889"/>
          </a:xfrm>
          <a:prstGeom prst="rect">
            <a:avLst/>
          </a:prstGeom>
          <a:noFill/>
          <a:extLst>
            <a:ext uri="{909E8E84-426E-40DD-AFC4-6F175D3DCCD1}">
              <a14:hiddenFill xmlns:a14="http://schemas.microsoft.com/office/drawing/2010/main">
                <a:solidFill>
                  <a:srgbClr val="FFFFFF"/>
                </a:solidFill>
              </a14:hiddenFill>
            </a:ext>
          </a:extLst>
        </p:spPr>
      </p:pic>
      <p:pic>
        <p:nvPicPr>
          <p:cNvPr id="9228" name="Picture 12" descr="Cable submarino">
            <a:extLst>
              <a:ext uri="{FF2B5EF4-FFF2-40B4-BE49-F238E27FC236}">
                <a16:creationId xmlns:a16="http://schemas.microsoft.com/office/drawing/2014/main" id="{7E6562E3-1E3F-FF2D-CEF9-DD6DFE5D3C08}"/>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7987612" y="3575321"/>
            <a:ext cx="4196770" cy="2790096"/>
          </a:xfrm>
          <a:prstGeom prst="rect">
            <a:avLst/>
          </a:prstGeom>
          <a:noFill/>
          <a:extLst>
            <a:ext uri="{909E8E84-426E-40DD-AFC4-6F175D3DCCD1}">
              <a14:hiddenFill xmlns:a14="http://schemas.microsoft.com/office/drawing/2010/main">
                <a:solidFill>
                  <a:srgbClr val="FFFFFF"/>
                </a:solidFill>
              </a14:hiddenFill>
            </a:ext>
          </a:extLst>
        </p:spPr>
      </p:pic>
      <p:sp>
        <p:nvSpPr>
          <p:cNvPr id="71" name="TextBox 70">
            <a:extLst>
              <a:ext uri="{FF2B5EF4-FFF2-40B4-BE49-F238E27FC236}">
                <a16:creationId xmlns:a16="http://schemas.microsoft.com/office/drawing/2014/main" id="{282FB9D8-9E77-10D1-24F0-DE6A54227551}"/>
              </a:ext>
            </a:extLst>
          </p:cNvPr>
          <p:cNvSpPr txBox="1"/>
          <p:nvPr/>
        </p:nvSpPr>
        <p:spPr>
          <a:xfrm>
            <a:off x="191196" y="2904645"/>
            <a:ext cx="2682634" cy="369332"/>
          </a:xfrm>
          <a:prstGeom prst="rect">
            <a:avLst/>
          </a:prstGeom>
          <a:noFill/>
        </p:spPr>
        <p:txBody>
          <a:bodyPr wrap="square">
            <a:spAutoFit/>
          </a:bodyPr>
          <a:lstStyle/>
          <a:p>
            <a:r>
              <a:rPr lang="en-US" sz="1800" dirty="0">
                <a:solidFill>
                  <a:schemeClr val="tx2"/>
                </a:solidFill>
              </a:rPr>
              <a:t>Growing fiber footprint</a:t>
            </a:r>
            <a:endParaRPr lang="en-US" dirty="0">
              <a:solidFill>
                <a:schemeClr val="tx2"/>
              </a:solidFill>
            </a:endParaRPr>
          </a:p>
        </p:txBody>
      </p:sp>
      <p:sp>
        <p:nvSpPr>
          <p:cNvPr id="72" name="TextBox 71">
            <a:extLst>
              <a:ext uri="{FF2B5EF4-FFF2-40B4-BE49-F238E27FC236}">
                <a16:creationId xmlns:a16="http://schemas.microsoft.com/office/drawing/2014/main" id="{0008E69D-5596-B061-8470-ED53289F264C}"/>
              </a:ext>
            </a:extLst>
          </p:cNvPr>
          <p:cNvSpPr txBox="1"/>
          <p:nvPr/>
        </p:nvSpPr>
        <p:spPr>
          <a:xfrm>
            <a:off x="4204389" y="5161099"/>
            <a:ext cx="2764083" cy="646331"/>
          </a:xfrm>
          <a:prstGeom prst="rect">
            <a:avLst/>
          </a:prstGeom>
          <a:noFill/>
        </p:spPr>
        <p:txBody>
          <a:bodyPr wrap="square">
            <a:spAutoFit/>
          </a:bodyPr>
          <a:lstStyle/>
          <a:p>
            <a:pPr algn="ctr"/>
            <a:r>
              <a:rPr lang="en-US" sz="1800" dirty="0">
                <a:solidFill>
                  <a:schemeClr val="tx2"/>
                </a:solidFill>
              </a:rPr>
              <a:t>Adding mobile coverage and capacity</a:t>
            </a:r>
            <a:endParaRPr lang="en-US" dirty="0">
              <a:solidFill>
                <a:schemeClr val="tx2"/>
              </a:solidFill>
            </a:endParaRPr>
          </a:p>
        </p:txBody>
      </p:sp>
      <p:sp>
        <p:nvSpPr>
          <p:cNvPr id="86" name="TextBox 85">
            <a:extLst>
              <a:ext uri="{FF2B5EF4-FFF2-40B4-BE49-F238E27FC236}">
                <a16:creationId xmlns:a16="http://schemas.microsoft.com/office/drawing/2014/main" id="{C935F4B3-DD65-1BC9-1C5E-9765B012C5D8}"/>
              </a:ext>
            </a:extLst>
          </p:cNvPr>
          <p:cNvSpPr txBox="1"/>
          <p:nvPr/>
        </p:nvSpPr>
        <p:spPr>
          <a:xfrm>
            <a:off x="-51879" y="6205257"/>
            <a:ext cx="2925710" cy="646331"/>
          </a:xfrm>
          <a:prstGeom prst="rect">
            <a:avLst/>
          </a:prstGeom>
          <a:noFill/>
        </p:spPr>
        <p:txBody>
          <a:bodyPr wrap="square">
            <a:spAutoFit/>
          </a:bodyPr>
          <a:lstStyle/>
          <a:p>
            <a:pPr algn="ctr"/>
            <a:r>
              <a:rPr lang="en-US" sz="1800" dirty="0">
                <a:solidFill>
                  <a:schemeClr val="tx2"/>
                </a:solidFill>
              </a:rPr>
              <a:t>Improving speeds on network reliability</a:t>
            </a:r>
            <a:endParaRPr lang="en-US" dirty="0">
              <a:solidFill>
                <a:schemeClr val="tx2"/>
              </a:solidFill>
            </a:endParaRPr>
          </a:p>
        </p:txBody>
      </p:sp>
      <p:sp>
        <p:nvSpPr>
          <p:cNvPr id="87" name="TextBox 86">
            <a:extLst>
              <a:ext uri="{FF2B5EF4-FFF2-40B4-BE49-F238E27FC236}">
                <a16:creationId xmlns:a16="http://schemas.microsoft.com/office/drawing/2014/main" id="{AB2E97B5-A9CD-B106-FE5F-5D691FD17EFA}"/>
              </a:ext>
            </a:extLst>
          </p:cNvPr>
          <p:cNvSpPr txBox="1"/>
          <p:nvPr/>
        </p:nvSpPr>
        <p:spPr>
          <a:xfrm>
            <a:off x="8315198" y="6365417"/>
            <a:ext cx="3770161" cy="369332"/>
          </a:xfrm>
          <a:prstGeom prst="rect">
            <a:avLst/>
          </a:prstGeom>
          <a:noFill/>
        </p:spPr>
        <p:txBody>
          <a:bodyPr wrap="square">
            <a:spAutoFit/>
          </a:bodyPr>
          <a:lstStyle/>
          <a:p>
            <a:pPr algn="ctr"/>
            <a:r>
              <a:rPr lang="en-US" sz="1800" dirty="0">
                <a:solidFill>
                  <a:schemeClr val="tx2"/>
                </a:solidFill>
              </a:rPr>
              <a:t>Expanding subsea capacity</a:t>
            </a:r>
            <a:endParaRPr lang="en-US" dirty="0">
              <a:solidFill>
                <a:schemeClr val="tx2"/>
              </a:solidFill>
            </a:endParaRPr>
          </a:p>
        </p:txBody>
      </p:sp>
      <p:sp>
        <p:nvSpPr>
          <p:cNvPr id="88" name="TextBox 87">
            <a:extLst>
              <a:ext uri="{FF2B5EF4-FFF2-40B4-BE49-F238E27FC236}">
                <a16:creationId xmlns:a16="http://schemas.microsoft.com/office/drawing/2014/main" id="{F9241871-FFCB-A856-61FB-870232A5245E}"/>
              </a:ext>
            </a:extLst>
          </p:cNvPr>
          <p:cNvSpPr txBox="1"/>
          <p:nvPr/>
        </p:nvSpPr>
        <p:spPr>
          <a:xfrm>
            <a:off x="8113219" y="3205989"/>
            <a:ext cx="3770161" cy="369332"/>
          </a:xfrm>
          <a:prstGeom prst="rect">
            <a:avLst/>
          </a:prstGeom>
          <a:noFill/>
        </p:spPr>
        <p:txBody>
          <a:bodyPr wrap="square">
            <a:spAutoFit/>
          </a:bodyPr>
          <a:lstStyle/>
          <a:p>
            <a:pPr algn="ctr"/>
            <a:r>
              <a:rPr lang="en-US" sz="1800" dirty="0">
                <a:solidFill>
                  <a:schemeClr val="tx2"/>
                </a:solidFill>
              </a:rPr>
              <a:t>Upgrading copper to Fiber</a:t>
            </a:r>
            <a:endParaRPr lang="en-US" dirty="0">
              <a:solidFill>
                <a:schemeClr val="tx2"/>
              </a:solidFill>
            </a:endParaRPr>
          </a:p>
        </p:txBody>
      </p:sp>
      <p:sp>
        <p:nvSpPr>
          <p:cNvPr id="4" name="Title 1">
            <a:extLst>
              <a:ext uri="{FF2B5EF4-FFF2-40B4-BE49-F238E27FC236}">
                <a16:creationId xmlns:a16="http://schemas.microsoft.com/office/drawing/2014/main" id="{981AB5D6-A437-4EFF-36E6-DE77EFFD9F68}"/>
              </a:ext>
            </a:extLst>
          </p:cNvPr>
          <p:cNvSpPr txBox="1">
            <a:spLocks/>
          </p:cNvSpPr>
          <p:nvPr/>
        </p:nvSpPr>
        <p:spPr>
          <a:xfrm>
            <a:off x="7618" y="6412"/>
            <a:ext cx="4700080"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Expanding Connectivity</a:t>
            </a:r>
          </a:p>
          <a:p>
            <a:endParaRPr lang="en-US" sz="2800" dirty="0"/>
          </a:p>
        </p:txBody>
      </p:sp>
      <p:pic>
        <p:nvPicPr>
          <p:cNvPr id="5" name="Picture 4" descr="A picture containing barrel&#10;&#10;Description automatically generated">
            <a:extLst>
              <a:ext uri="{FF2B5EF4-FFF2-40B4-BE49-F238E27FC236}">
                <a16:creationId xmlns:a16="http://schemas.microsoft.com/office/drawing/2014/main" id="{8B978632-CEE2-D7C4-8A0B-64711485062D}"/>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086640" y="414466"/>
            <a:ext cx="2097742" cy="2796988"/>
          </a:xfrm>
          <a:prstGeom prst="rect">
            <a:avLst/>
          </a:prstGeom>
        </p:spPr>
      </p:pic>
    </p:spTree>
    <p:extLst>
      <p:ext uri="{BB962C8B-B14F-4D97-AF65-F5344CB8AC3E}">
        <p14:creationId xmlns:p14="http://schemas.microsoft.com/office/powerpoint/2010/main" val="401608114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8D82B12-6294-7CA5-E647-22FA59342ABF}"/>
              </a:ext>
            </a:extLst>
          </p:cNvPr>
          <p:cNvGraphicFramePr>
            <a:graphicFrameLocks noChangeAspect="1"/>
          </p:cNvGraphicFramePr>
          <p:nvPr>
            <p:custDataLst>
              <p:tags r:id="rId2"/>
            </p:custDataLst>
            <p:extLst>
              <p:ext uri="{D42A27DB-BD31-4B8C-83A1-F6EECF244321}">
                <p14:modId xmlns:p14="http://schemas.microsoft.com/office/powerpoint/2010/main" val="2598010263"/>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1505" name="think-cell Slide" r:id="rId4" imgW="7772400" imgH="10058400" progId="TCLayout.ActiveDocument.1">
                  <p:embed/>
                </p:oleObj>
              </mc:Choice>
              <mc:Fallback>
                <p:oleObj name="think-cell Slide" r:id="rId4" imgW="7772400" imgH="10058400" progId="TCLayout.ActiveDocument.1">
                  <p:embed/>
                  <p:pic>
                    <p:nvPicPr>
                      <p:cNvPr id="2" name="Object 1" hidden="1">
                        <a:extLst>
                          <a:ext uri="{FF2B5EF4-FFF2-40B4-BE49-F238E27FC236}">
                            <a16:creationId xmlns:a16="http://schemas.microsoft.com/office/drawing/2014/main" id="{B8D82B12-6294-7CA5-E647-22FA59342ABF}"/>
                          </a:ext>
                        </a:extLst>
                      </p:cNvPr>
                      <p:cNvPicPr/>
                      <p:nvPr/>
                    </p:nvPicPr>
                    <p:blipFill>
                      <a:blip r:embed="rId5"/>
                      <a:stretch>
                        <a:fillRect/>
                      </a:stretch>
                    </p:blipFill>
                    <p:spPr>
                      <a:xfrm>
                        <a:off x="1588" y="1588"/>
                        <a:ext cx="1227" cy="1588"/>
                      </a:xfrm>
                      <a:prstGeom prst="rect">
                        <a:avLst/>
                      </a:prstGeom>
                    </p:spPr>
                  </p:pic>
                </p:oleObj>
              </mc:Fallback>
            </mc:AlternateContent>
          </a:graphicData>
        </a:graphic>
      </p:graphicFrame>
      <p:pic>
        <p:nvPicPr>
          <p:cNvPr id="7170" name="Picture 2" descr="Juggler Stock Photos, Royalty Free Juggler Images | Depositphotos">
            <a:extLst>
              <a:ext uri="{FF2B5EF4-FFF2-40B4-BE49-F238E27FC236}">
                <a16:creationId xmlns:a16="http://schemas.microsoft.com/office/drawing/2014/main" id="{5A685275-928A-A5CE-5144-9C7E8AD91012}"/>
              </a:ext>
            </a:extLst>
          </p:cNvPr>
          <p:cNvPicPr>
            <a:picLocks noChangeAspect="1" noChangeArrowheads="1"/>
          </p:cNvPicPr>
          <p:nvPr/>
        </p:nvPicPr>
        <p:blipFill>
          <a:blip r:embed="rId6">
            <a:alphaModFix amt="41000"/>
            <a:extLst>
              <a:ext uri="{28A0092B-C50C-407E-A947-70E740481C1C}">
                <a14:useLocalDpi xmlns:a14="http://schemas.microsoft.com/office/drawing/2010/main"/>
              </a:ext>
            </a:extLst>
          </a:blip>
          <a:srcRect/>
          <a:stretch>
            <a:fillRect/>
          </a:stretch>
        </p:blipFill>
        <p:spPr bwMode="auto">
          <a:xfrm>
            <a:off x="0" y="497"/>
            <a:ext cx="12192000" cy="6875564"/>
          </a:xfrm>
          <a:prstGeom prst="rect">
            <a:avLst/>
          </a:prstGeom>
          <a:noFill/>
          <a:effectLst>
            <a:glow>
              <a:schemeClr val="accent1">
                <a:alpha val="75917"/>
              </a:schemeClr>
            </a:glow>
            <a:outerShdw dir="5400000" algn="ctr" rotWithShape="0">
              <a:srgbClr val="000000">
                <a:alpha val="0"/>
              </a:srgbClr>
            </a:outerShdw>
          </a:effectLst>
          <a:extLst>
            <a:ext uri="{909E8E84-426E-40DD-AFC4-6F175D3DCCD1}">
              <a14:hiddenFill xmlns:a14="http://schemas.microsoft.com/office/drawing/2010/main">
                <a:solidFill>
                  <a:srgbClr val="FFFFFF"/>
                </a:solidFill>
              </a14:hiddenFill>
            </a:ext>
          </a:extLst>
        </p:spPr>
      </p:pic>
      <p:sp>
        <p:nvSpPr>
          <p:cNvPr id="11" name="TextBox 10">
            <a:extLst>
              <a:ext uri="{FF2B5EF4-FFF2-40B4-BE49-F238E27FC236}">
                <a16:creationId xmlns:a16="http://schemas.microsoft.com/office/drawing/2014/main" id="{261416F3-5C92-D63D-A060-625A17CEEC5A}"/>
              </a:ext>
            </a:extLst>
          </p:cNvPr>
          <p:cNvSpPr txBox="1"/>
          <p:nvPr/>
        </p:nvSpPr>
        <p:spPr>
          <a:xfrm>
            <a:off x="1116241" y="797111"/>
            <a:ext cx="2741303"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Operate and maintain our network</a:t>
            </a:r>
          </a:p>
        </p:txBody>
      </p:sp>
      <p:sp>
        <p:nvSpPr>
          <p:cNvPr id="12" name="TextBox 11">
            <a:extLst>
              <a:ext uri="{FF2B5EF4-FFF2-40B4-BE49-F238E27FC236}">
                <a16:creationId xmlns:a16="http://schemas.microsoft.com/office/drawing/2014/main" id="{C9F9904A-98ED-D46D-9D1C-34693AB3503A}"/>
              </a:ext>
            </a:extLst>
          </p:cNvPr>
          <p:cNvSpPr txBox="1"/>
          <p:nvPr/>
        </p:nvSpPr>
        <p:spPr>
          <a:xfrm>
            <a:off x="6903169" y="711905"/>
            <a:ext cx="4075119"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Develop new products and services to enable great experiences</a:t>
            </a:r>
          </a:p>
        </p:txBody>
      </p:sp>
      <p:sp>
        <p:nvSpPr>
          <p:cNvPr id="13" name="TextBox 12">
            <a:extLst>
              <a:ext uri="{FF2B5EF4-FFF2-40B4-BE49-F238E27FC236}">
                <a16:creationId xmlns:a16="http://schemas.microsoft.com/office/drawing/2014/main" id="{19B41C56-FDE6-4120-B320-F2A15B42C261}"/>
              </a:ext>
            </a:extLst>
          </p:cNvPr>
          <p:cNvSpPr txBox="1"/>
          <p:nvPr/>
        </p:nvSpPr>
        <p:spPr>
          <a:xfrm>
            <a:off x="1116241" y="3064161"/>
            <a:ext cx="2243139"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Create Operating Efficiency</a:t>
            </a:r>
          </a:p>
        </p:txBody>
      </p:sp>
      <p:sp>
        <p:nvSpPr>
          <p:cNvPr id="14" name="TextBox 13">
            <a:extLst>
              <a:ext uri="{FF2B5EF4-FFF2-40B4-BE49-F238E27FC236}">
                <a16:creationId xmlns:a16="http://schemas.microsoft.com/office/drawing/2014/main" id="{E0035758-C05B-64A1-541B-437EBAC47A08}"/>
              </a:ext>
            </a:extLst>
          </p:cNvPr>
          <p:cNvSpPr txBox="1"/>
          <p:nvPr/>
        </p:nvSpPr>
        <p:spPr>
          <a:xfrm>
            <a:off x="8611100" y="2432579"/>
            <a:ext cx="2741303"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Keep the network secure</a:t>
            </a:r>
          </a:p>
        </p:txBody>
      </p:sp>
      <p:sp>
        <p:nvSpPr>
          <p:cNvPr id="17" name="TextBox 16">
            <a:extLst>
              <a:ext uri="{FF2B5EF4-FFF2-40B4-BE49-F238E27FC236}">
                <a16:creationId xmlns:a16="http://schemas.microsoft.com/office/drawing/2014/main" id="{8C8CD85D-7D8D-E69E-CA53-657E921AD6DB}"/>
              </a:ext>
            </a:extLst>
          </p:cNvPr>
          <p:cNvSpPr txBox="1"/>
          <p:nvPr/>
        </p:nvSpPr>
        <p:spPr>
          <a:xfrm>
            <a:off x="2045770" y="5428775"/>
            <a:ext cx="6809498" cy="830997"/>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Challenging competitive and economic environment</a:t>
            </a:r>
          </a:p>
        </p:txBody>
      </p:sp>
      <p:sp>
        <p:nvSpPr>
          <p:cNvPr id="19" name="Title 1">
            <a:extLst>
              <a:ext uri="{FF2B5EF4-FFF2-40B4-BE49-F238E27FC236}">
                <a16:creationId xmlns:a16="http://schemas.microsoft.com/office/drawing/2014/main" id="{DDFE8AD1-D635-7266-9032-011874B84963}"/>
              </a:ext>
            </a:extLst>
          </p:cNvPr>
          <p:cNvSpPr txBox="1">
            <a:spLocks/>
          </p:cNvSpPr>
          <p:nvPr/>
        </p:nvSpPr>
        <p:spPr>
          <a:xfrm>
            <a:off x="7617" y="6412"/>
            <a:ext cx="11977554"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Our strength – Providing the right solutions to meet customers’ needs</a:t>
            </a:r>
          </a:p>
          <a:p>
            <a:endParaRPr lang="en-US" sz="2800" dirty="0"/>
          </a:p>
        </p:txBody>
      </p:sp>
      <p:sp>
        <p:nvSpPr>
          <p:cNvPr id="10" name="TextBox 9">
            <a:extLst>
              <a:ext uri="{FF2B5EF4-FFF2-40B4-BE49-F238E27FC236}">
                <a16:creationId xmlns:a16="http://schemas.microsoft.com/office/drawing/2014/main" id="{2B6FC0A1-45DE-71E0-FFF0-8D5FD6AEB8E3}"/>
              </a:ext>
            </a:extLst>
          </p:cNvPr>
          <p:cNvSpPr txBox="1"/>
          <p:nvPr/>
        </p:nvSpPr>
        <p:spPr>
          <a:xfrm>
            <a:off x="7991116" y="4123600"/>
            <a:ext cx="4200884" cy="1200329"/>
          </a:xfrm>
          <a:prstGeom prst="rect">
            <a:avLst/>
          </a:prstGeom>
          <a:noFill/>
        </p:spPr>
        <p:txBody>
          <a:bodyPr wrap="square">
            <a:spAutoFit/>
          </a:bodyPr>
          <a:lstStyle/>
          <a:p>
            <a:pPr marL="342900" indent="-342900" algn="ctr">
              <a:buFont typeface="Arial" panose="020B0604020202020204" pitchFamily="34" charset="0"/>
              <a:buChar char="•"/>
            </a:pPr>
            <a:r>
              <a:rPr lang="en-US" sz="2400" b="1" dirty="0">
                <a:solidFill>
                  <a:schemeClr val="bg2"/>
                </a:solidFill>
              </a:rPr>
              <a:t>Digitizing customer experience, pushing fiber, expanding capacity</a:t>
            </a:r>
          </a:p>
        </p:txBody>
      </p:sp>
    </p:spTree>
    <p:extLst>
      <p:ext uri="{BB962C8B-B14F-4D97-AF65-F5344CB8AC3E}">
        <p14:creationId xmlns:p14="http://schemas.microsoft.com/office/powerpoint/2010/main" val="197022378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2C1E785D-E5E6-1432-650B-DE35293B10D9}"/>
              </a:ext>
            </a:extLst>
          </p:cNvPr>
          <p:cNvGraphicFramePr>
            <a:graphicFrameLocks noChangeAspect="1"/>
          </p:cNvGraphicFramePr>
          <p:nvPr>
            <p:custDataLst>
              <p:tags r:id="rId2"/>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2529" name="think-cell Slide" r:id="rId5" imgW="7772400" imgH="10058400" progId="TCLayout.ActiveDocument.1">
                  <p:embed/>
                </p:oleObj>
              </mc:Choice>
              <mc:Fallback>
                <p:oleObj name="think-cell Slide" r:id="rId5" imgW="7772400" imgH="10058400" progId="TCLayout.ActiveDocument.1">
                  <p:embed/>
                  <p:pic>
                    <p:nvPicPr>
                      <p:cNvPr id="7" name="Object 6" hidden="1">
                        <a:extLst>
                          <a:ext uri="{FF2B5EF4-FFF2-40B4-BE49-F238E27FC236}">
                            <a16:creationId xmlns:a16="http://schemas.microsoft.com/office/drawing/2014/main" id="{2C1E785D-E5E6-1432-650B-DE35293B10D9}"/>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pic>
        <p:nvPicPr>
          <p:cNvPr id="7172" name="Picture 4" descr="Cable versus DSL versus Fiber: Which Internet Connection Is Best?">
            <a:extLst>
              <a:ext uri="{FF2B5EF4-FFF2-40B4-BE49-F238E27FC236}">
                <a16:creationId xmlns:a16="http://schemas.microsoft.com/office/drawing/2014/main" id="{43E8F5E8-A5B3-1D9C-903D-653BE6920568}"/>
              </a:ext>
            </a:extLst>
          </p:cNvPr>
          <p:cNvPicPr>
            <a:picLocks noChangeAspect="1" noChangeArrowheads="1"/>
          </p:cNvPicPr>
          <p:nvPr/>
        </p:nvPicPr>
        <p:blipFill>
          <a:blip r:embed="rId7">
            <a:alphaModFix amt="14000"/>
            <a:extLst>
              <a:ext uri="{28A0092B-C50C-407E-A947-70E740481C1C}">
                <a14:useLocalDpi xmlns:a14="http://schemas.microsoft.com/office/drawing/2010/main"/>
              </a:ext>
            </a:extLst>
          </a:blip>
          <a:srcRect/>
          <a:stretch>
            <a:fillRect/>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109" name="Subtitle 2">
            <a:extLst>
              <a:ext uri="{FF2B5EF4-FFF2-40B4-BE49-F238E27FC236}">
                <a16:creationId xmlns:a16="http://schemas.microsoft.com/office/drawing/2014/main" id="{4D735941-07D0-6946-9957-9016498E0742}"/>
              </a:ext>
            </a:extLst>
          </p:cNvPr>
          <p:cNvSpPr txBox="1">
            <a:spLocks/>
          </p:cNvSpPr>
          <p:nvPr/>
        </p:nvSpPr>
        <p:spPr>
          <a:xfrm>
            <a:off x="9234986" y="614010"/>
            <a:ext cx="2964632"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360-Degree AR/Cloud DVR</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Ultra Broadband 1000</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DOCSIS 3.1/XGS-PON - &gt;1 Gbps</a:t>
            </a:r>
          </a:p>
        </p:txBody>
      </p:sp>
      <p:sp>
        <p:nvSpPr>
          <p:cNvPr id="26" name="Oval 25">
            <a:extLst>
              <a:ext uri="{FF2B5EF4-FFF2-40B4-BE49-F238E27FC236}">
                <a16:creationId xmlns:a16="http://schemas.microsoft.com/office/drawing/2014/main" id="{D5AD64FE-AC39-C349-B419-771C32380387}"/>
              </a:ext>
            </a:extLst>
          </p:cNvPr>
          <p:cNvSpPr>
            <a:spLocks noChangeAspect="1"/>
          </p:cNvSpPr>
          <p:nvPr/>
        </p:nvSpPr>
        <p:spPr>
          <a:xfrm>
            <a:off x="4318095" y="2030873"/>
            <a:ext cx="1357703" cy="1357703"/>
          </a:xfrm>
          <a:prstGeom prst="ellipse">
            <a:avLst/>
          </a:prstGeom>
          <a:solidFill>
            <a:schemeClr val="accent3">
              <a:alpha val="91000"/>
            </a:schemeClr>
          </a:solidFill>
          <a:ln w="9525" cmpd="sng">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2005</a:t>
            </a:r>
          </a:p>
        </p:txBody>
      </p:sp>
      <p:sp>
        <p:nvSpPr>
          <p:cNvPr id="62" name="Oval 61">
            <a:extLst>
              <a:ext uri="{FF2B5EF4-FFF2-40B4-BE49-F238E27FC236}">
                <a16:creationId xmlns:a16="http://schemas.microsoft.com/office/drawing/2014/main" id="{E3259A99-5DA1-6E4D-959A-9810B380F9DD}"/>
              </a:ext>
            </a:extLst>
          </p:cNvPr>
          <p:cNvSpPr>
            <a:spLocks noChangeAspect="1"/>
          </p:cNvSpPr>
          <p:nvPr/>
        </p:nvSpPr>
        <p:spPr>
          <a:xfrm>
            <a:off x="2640014" y="3005047"/>
            <a:ext cx="1357703" cy="1357700"/>
          </a:xfrm>
          <a:prstGeom prst="ellipse">
            <a:avLst/>
          </a:prstGeom>
          <a:solidFill>
            <a:schemeClr val="accent6">
              <a:lumMod val="50000"/>
              <a:alpha val="91000"/>
            </a:schemeClr>
          </a:solidFill>
          <a:ln w="9525" cmpd="sng">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2000</a:t>
            </a:r>
          </a:p>
        </p:txBody>
      </p:sp>
      <p:sp>
        <p:nvSpPr>
          <p:cNvPr id="69" name="Oval 68">
            <a:extLst>
              <a:ext uri="{FF2B5EF4-FFF2-40B4-BE49-F238E27FC236}">
                <a16:creationId xmlns:a16="http://schemas.microsoft.com/office/drawing/2014/main" id="{46D2C49E-ABA4-4A41-AC76-97B4C0D567DB}"/>
              </a:ext>
            </a:extLst>
          </p:cNvPr>
          <p:cNvSpPr>
            <a:spLocks noChangeAspect="1"/>
          </p:cNvSpPr>
          <p:nvPr/>
        </p:nvSpPr>
        <p:spPr>
          <a:xfrm>
            <a:off x="7674253" y="82534"/>
            <a:ext cx="1357703" cy="1357700"/>
          </a:xfrm>
          <a:prstGeom prst="ellipse">
            <a:avLst/>
          </a:prstGeom>
          <a:solidFill>
            <a:schemeClr val="accent4"/>
          </a:solidFill>
          <a:ln w="9525" cmpd="sng">
            <a:solidFill>
              <a:schemeClr val="accent5"/>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2020+</a:t>
            </a:r>
          </a:p>
        </p:txBody>
      </p:sp>
      <p:sp>
        <p:nvSpPr>
          <p:cNvPr id="72" name="Oval 71">
            <a:extLst>
              <a:ext uri="{FF2B5EF4-FFF2-40B4-BE49-F238E27FC236}">
                <a16:creationId xmlns:a16="http://schemas.microsoft.com/office/drawing/2014/main" id="{E19C55E5-E7A5-6043-94A4-C965261A39AB}"/>
              </a:ext>
            </a:extLst>
          </p:cNvPr>
          <p:cNvSpPr>
            <a:spLocks noChangeAspect="1"/>
          </p:cNvSpPr>
          <p:nvPr/>
        </p:nvSpPr>
        <p:spPr>
          <a:xfrm>
            <a:off x="961934" y="3979217"/>
            <a:ext cx="1357703" cy="1357703"/>
          </a:xfrm>
          <a:prstGeom prst="ellipse">
            <a:avLst/>
          </a:prstGeom>
          <a:solidFill>
            <a:schemeClr val="accent1">
              <a:alpha val="91000"/>
            </a:schemeClr>
          </a:solidFill>
          <a:ln w="9525" cmpd="sng">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1990</a:t>
            </a:r>
          </a:p>
        </p:txBody>
      </p:sp>
      <p:sp>
        <p:nvSpPr>
          <p:cNvPr id="89" name="Oval 88">
            <a:extLst>
              <a:ext uri="{FF2B5EF4-FFF2-40B4-BE49-F238E27FC236}">
                <a16:creationId xmlns:a16="http://schemas.microsoft.com/office/drawing/2014/main" id="{1200BAF4-F22D-6A4A-A107-AA3387F2EBCC}"/>
              </a:ext>
            </a:extLst>
          </p:cNvPr>
          <p:cNvSpPr>
            <a:spLocks noChangeAspect="1"/>
          </p:cNvSpPr>
          <p:nvPr/>
        </p:nvSpPr>
        <p:spPr>
          <a:xfrm>
            <a:off x="5996174" y="1056705"/>
            <a:ext cx="1357703" cy="1357700"/>
          </a:xfrm>
          <a:prstGeom prst="ellipse">
            <a:avLst/>
          </a:prstGeom>
          <a:solidFill>
            <a:schemeClr val="bg1">
              <a:lumMod val="50000"/>
              <a:alpha val="91000"/>
            </a:schemeClr>
          </a:solidFill>
          <a:ln w="9525" cmpd="sng">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latin typeface="Noto Sans ExtraLight" panose="020B0302040504020204" pitchFamily="34" charset="0"/>
              </a:rPr>
              <a:t>2010</a:t>
            </a:r>
          </a:p>
        </p:txBody>
      </p:sp>
      <p:sp>
        <p:nvSpPr>
          <p:cNvPr id="111" name="Subtitle 2">
            <a:extLst>
              <a:ext uri="{FF2B5EF4-FFF2-40B4-BE49-F238E27FC236}">
                <a16:creationId xmlns:a16="http://schemas.microsoft.com/office/drawing/2014/main" id="{7061DE4E-0C46-CC46-8A0A-5C1FAC9FCAEB}"/>
              </a:ext>
            </a:extLst>
          </p:cNvPr>
          <p:cNvSpPr txBox="1">
            <a:spLocks/>
          </p:cNvSpPr>
          <p:nvPr/>
        </p:nvSpPr>
        <p:spPr>
          <a:xfrm>
            <a:off x="2409934" y="5260721"/>
            <a:ext cx="2193071"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Voice</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Dial-up Internet  </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64 kbps</a:t>
            </a:r>
          </a:p>
        </p:txBody>
      </p:sp>
      <p:sp>
        <p:nvSpPr>
          <p:cNvPr id="113" name="Subtitle 2">
            <a:extLst>
              <a:ext uri="{FF2B5EF4-FFF2-40B4-BE49-F238E27FC236}">
                <a16:creationId xmlns:a16="http://schemas.microsoft.com/office/drawing/2014/main" id="{F36AD9DA-789F-644A-B4CC-A08552B2F4CD}"/>
              </a:ext>
            </a:extLst>
          </p:cNvPr>
          <p:cNvSpPr txBox="1">
            <a:spLocks/>
          </p:cNvSpPr>
          <p:nvPr/>
        </p:nvSpPr>
        <p:spPr>
          <a:xfrm>
            <a:off x="4101247" y="4418141"/>
            <a:ext cx="2193071"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Photo/SD Video</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Broadband </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ADSL - 10 Mbps</a:t>
            </a:r>
          </a:p>
        </p:txBody>
      </p:sp>
      <p:sp>
        <p:nvSpPr>
          <p:cNvPr id="115" name="Subtitle 2">
            <a:extLst>
              <a:ext uri="{FF2B5EF4-FFF2-40B4-BE49-F238E27FC236}">
                <a16:creationId xmlns:a16="http://schemas.microsoft.com/office/drawing/2014/main" id="{90877E25-3327-264A-8E9F-377BAA7C6588}"/>
              </a:ext>
            </a:extLst>
          </p:cNvPr>
          <p:cNvSpPr txBox="1">
            <a:spLocks/>
          </p:cNvSpPr>
          <p:nvPr/>
        </p:nvSpPr>
        <p:spPr>
          <a:xfrm>
            <a:off x="5883965" y="3316819"/>
            <a:ext cx="3406294"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HD Video</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Ultra Broadband </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 VDSL/DOCSIS 3.0 – 30-200 Mbps </a:t>
            </a:r>
          </a:p>
        </p:txBody>
      </p:sp>
      <p:sp>
        <p:nvSpPr>
          <p:cNvPr id="117" name="Subtitle 2">
            <a:extLst>
              <a:ext uri="{FF2B5EF4-FFF2-40B4-BE49-F238E27FC236}">
                <a16:creationId xmlns:a16="http://schemas.microsoft.com/office/drawing/2014/main" id="{9BE4E4A4-B996-2C43-8B7E-728A4692B94A}"/>
              </a:ext>
            </a:extLst>
          </p:cNvPr>
          <p:cNvSpPr txBox="1">
            <a:spLocks/>
          </p:cNvSpPr>
          <p:nvPr/>
        </p:nvSpPr>
        <p:spPr>
          <a:xfrm>
            <a:off x="7538628" y="2175263"/>
            <a:ext cx="3302090" cy="848472"/>
          </a:xfrm>
          <a:prstGeom prst="rect">
            <a:avLst/>
          </a:prstGeom>
        </p:spPr>
        <p:txBody>
          <a:bodyPr vert="horz" wrap="square" lIns="108745" tIns="54373" rIns="108745" bIns="54373"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0"/>
              </a:spcBef>
            </a:pPr>
            <a:r>
              <a:rPr lang="en-US" sz="1600" b="1"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4kHD/Multiple Screens</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Ultra Broadband 100</a:t>
            </a:r>
          </a:p>
          <a:p>
            <a:pPr algn="l">
              <a:lnSpc>
                <a:spcPct val="100000"/>
              </a:lnSpc>
              <a:spcBef>
                <a:spcPts val="0"/>
              </a:spcBef>
            </a:pPr>
            <a:r>
              <a:rPr lang="en-US" sz="1600" dirty="0">
                <a:solidFill>
                  <a:schemeClr val="tx1"/>
                </a:solidFill>
                <a:latin typeface="Noto Sans ExtraLight" panose="020B0302040504020204" pitchFamily="34" charset="0"/>
                <a:ea typeface="Open Sans Light" panose="020B0306030504020204" pitchFamily="34" charset="0"/>
                <a:cs typeface="Noto Sans ExtraLight" panose="020B0302040504020204" pitchFamily="34" charset="0"/>
              </a:rPr>
              <a:t>DOCSIS 3.0/GPON  - 100-500 Mbps</a:t>
            </a:r>
          </a:p>
        </p:txBody>
      </p:sp>
      <p:sp>
        <p:nvSpPr>
          <p:cNvPr id="2" name="Striped Right Arrow 1">
            <a:extLst>
              <a:ext uri="{FF2B5EF4-FFF2-40B4-BE49-F238E27FC236}">
                <a16:creationId xmlns:a16="http://schemas.microsoft.com/office/drawing/2014/main" id="{DB648EA3-22A0-404D-863A-030D0AE260E9}"/>
              </a:ext>
            </a:extLst>
          </p:cNvPr>
          <p:cNvSpPr/>
          <p:nvPr/>
        </p:nvSpPr>
        <p:spPr>
          <a:xfrm rot="19891187">
            <a:off x="3921301" y="3047071"/>
            <a:ext cx="473208" cy="211826"/>
          </a:xfrm>
          <a:prstGeom prst="stripedRightArrow">
            <a:avLst>
              <a:gd name="adj1" fmla="val 37178"/>
              <a:gd name="adj2" fmla="val 777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9" name="Striped Right Arrow 38">
            <a:extLst>
              <a:ext uri="{FF2B5EF4-FFF2-40B4-BE49-F238E27FC236}">
                <a16:creationId xmlns:a16="http://schemas.microsoft.com/office/drawing/2014/main" id="{43276028-2784-4F4F-B66F-AD76A69F35B1}"/>
              </a:ext>
            </a:extLst>
          </p:cNvPr>
          <p:cNvSpPr/>
          <p:nvPr/>
        </p:nvSpPr>
        <p:spPr>
          <a:xfrm rot="19891187">
            <a:off x="2264517" y="4056532"/>
            <a:ext cx="473208" cy="211826"/>
          </a:xfrm>
          <a:prstGeom prst="stripedRightArrow">
            <a:avLst>
              <a:gd name="adj1" fmla="val 37178"/>
              <a:gd name="adj2" fmla="val 777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0" name="Striped Right Arrow 39">
            <a:extLst>
              <a:ext uri="{FF2B5EF4-FFF2-40B4-BE49-F238E27FC236}">
                <a16:creationId xmlns:a16="http://schemas.microsoft.com/office/drawing/2014/main" id="{A60133E1-5304-1B44-97F9-B295A9125A2B}"/>
              </a:ext>
            </a:extLst>
          </p:cNvPr>
          <p:cNvSpPr/>
          <p:nvPr/>
        </p:nvSpPr>
        <p:spPr>
          <a:xfrm rot="19891187">
            <a:off x="5600719" y="2100984"/>
            <a:ext cx="473208" cy="211826"/>
          </a:xfrm>
          <a:prstGeom prst="stripedRightArrow">
            <a:avLst>
              <a:gd name="adj1" fmla="val 37178"/>
              <a:gd name="adj2" fmla="val 777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48" name="Striped Right Arrow 47">
            <a:extLst>
              <a:ext uri="{FF2B5EF4-FFF2-40B4-BE49-F238E27FC236}">
                <a16:creationId xmlns:a16="http://schemas.microsoft.com/office/drawing/2014/main" id="{422546FF-4D7D-0B47-83BE-9AF2BE6C880D}"/>
              </a:ext>
            </a:extLst>
          </p:cNvPr>
          <p:cNvSpPr/>
          <p:nvPr/>
        </p:nvSpPr>
        <p:spPr>
          <a:xfrm rot="19891187">
            <a:off x="7298243" y="1123210"/>
            <a:ext cx="473208" cy="211826"/>
          </a:xfrm>
          <a:prstGeom prst="stripedRightArrow">
            <a:avLst>
              <a:gd name="adj1" fmla="val 37178"/>
              <a:gd name="adj2" fmla="val 77781"/>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32" name="Title 1">
            <a:extLst>
              <a:ext uri="{FF2B5EF4-FFF2-40B4-BE49-F238E27FC236}">
                <a16:creationId xmlns:a16="http://schemas.microsoft.com/office/drawing/2014/main" id="{5BD8E0E2-A1FA-F93A-73D9-4ED2F635CA6A}"/>
              </a:ext>
            </a:extLst>
          </p:cNvPr>
          <p:cNvSpPr txBox="1">
            <a:spLocks/>
          </p:cNvSpPr>
          <p:nvPr/>
        </p:nvSpPr>
        <p:spPr>
          <a:xfrm>
            <a:off x="7618" y="6412"/>
            <a:ext cx="9085582" cy="643168"/>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a:t>Data Consumption Evolution</a:t>
            </a:r>
          </a:p>
          <a:p>
            <a:endParaRPr lang="en-US" sz="2800" dirty="0"/>
          </a:p>
        </p:txBody>
      </p:sp>
      <p:sp>
        <p:nvSpPr>
          <p:cNvPr id="25" name="TextBox 24">
            <a:extLst>
              <a:ext uri="{FF2B5EF4-FFF2-40B4-BE49-F238E27FC236}">
                <a16:creationId xmlns:a16="http://schemas.microsoft.com/office/drawing/2014/main" id="{D3734E16-05F8-58F4-B917-B465F2F15EE3}"/>
              </a:ext>
            </a:extLst>
          </p:cNvPr>
          <p:cNvSpPr txBox="1"/>
          <p:nvPr/>
        </p:nvSpPr>
        <p:spPr>
          <a:xfrm>
            <a:off x="-7618" y="6433525"/>
            <a:ext cx="12198723" cy="430887"/>
          </a:xfrm>
          <a:prstGeom prst="rect">
            <a:avLst/>
          </a:prstGeom>
          <a:solidFill>
            <a:schemeClr val="accent4"/>
          </a:solidFill>
          <a:ln>
            <a:solidFill>
              <a:srgbClr val="0070C0"/>
            </a:solidFill>
          </a:ln>
        </p:spPr>
        <p:txBody>
          <a:bodyPr wrap="square" lIns="0" tIns="0" rIns="0" bIns="0" rtlCol="0">
            <a:spAutoFit/>
          </a:bodyPr>
          <a:lstStyle/>
          <a:p>
            <a:pPr algn="ctr"/>
            <a:r>
              <a:rPr lang="en-US" sz="2800" dirty="0">
                <a:solidFill>
                  <a:schemeClr val="bg1"/>
                </a:solidFill>
              </a:rPr>
              <a:t>Content delivery driving bandwidth requirements</a:t>
            </a:r>
          </a:p>
        </p:txBody>
      </p:sp>
    </p:spTree>
    <p:extLst>
      <p:ext uri="{BB962C8B-B14F-4D97-AF65-F5344CB8AC3E}">
        <p14:creationId xmlns:p14="http://schemas.microsoft.com/office/powerpoint/2010/main" val="177741380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1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2.84069510999999996770E+00&quot;&gt;&lt;m_msothmcolidx val=&quot;0&quot;/&gt;&lt;m_rgb r=&quot;3C&quot; g=&quot;9D&quot; b=&quot;FF&quot;/&gt;&lt;/elem&gt;&lt;elem m_fUsage=&quot;1.89999999999999991118E+00&quot;&gt;&lt;m_msothmcolidx val=&quot;0&quot;/&gt;&lt;m_rgb r=&quot;53&quot; g=&quot;CC&quot; b=&quot;02&quot;/&gt;&lt;/elem&gt;&lt;elem m_fUsage=&quot;7.29000000000000092371E-01&quot;&gt;&lt;m_msothmcolidx val=&quot;0&quot;/&gt;&lt;m_rgb r=&quot;44&quot; g=&quot;B4&quot; b=&quot;E4&quot;/&gt;&lt;/elem&gt;&lt;elem m_fUsage=&quot;6.56100000000000127542E-01&quot;&gt;&lt;m_msothmcolidx val=&quot;0&quot;/&gt;&lt;m_rgb r=&quot;EA&quot; g=&quot;6A&quot; b=&quot;EA&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ASGdvD_fSCS.HkGWr66r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ASGdvD_fSCS.HkGWr66rJ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ON6VB0hpmCKhwb0nsMw8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IURm8c6KO5MCMUAcDfHxf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0mzsHJSPzJIVkLSORNLE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vDjVdlCnuCVdPnCokNW2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qru6cZlOwR.vPHnh.Dzna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Kxyopeiu5.YtdajRgntA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SXv1q4d7Xuv5Pk8rMUkL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MCAUhVteq1qGRVTbN0g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KvYtQUhPefPDinJQjBfA9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4_WHmq1p2sVPWepvoSGt5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w2z.6X5qhiBuP0M_PJ06D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SGdvD_fSCS.HkGWr66rJ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avj4RqCL0KCh1MRQYS9G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XMsa0nzVwk62wdahEirAF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LA Front Cover Slides">
  <a:themeElements>
    <a:clrScheme name="LLA Custom Colors">
      <a:dk1>
        <a:srgbClr val="3E3838"/>
      </a:dk1>
      <a:lt1>
        <a:srgbClr val="FFFFFF"/>
      </a:lt1>
      <a:dk2>
        <a:srgbClr val="6F6B6C"/>
      </a:dk2>
      <a:lt2>
        <a:srgbClr val="FF4100"/>
      </a:lt2>
      <a:accent1>
        <a:srgbClr val="FF3801"/>
      </a:accent1>
      <a:accent2>
        <a:srgbClr val="831F82"/>
      </a:accent2>
      <a:accent3>
        <a:srgbClr val="C2000B"/>
      </a:accent3>
      <a:accent4>
        <a:srgbClr val="2B66B2"/>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2800" dirty="0"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2_LLA Maste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2_LLA Strategy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3_LLA Maste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3_LLA Strategy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LA Slide Dividers">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lIns="0" tIns="0" rIns="0" bIns="0" rtlCol="0">
        <a:spAutoFit/>
      </a:bodyPr>
      <a:lstStyle>
        <a:defPPr>
          <a:defRPr sz="2800" dirty="0" smtClean="0">
            <a:solidFill>
              <a:schemeClr val="tx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LLA Maste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LLA H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LLA Finance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LLA Legal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LLA Strategy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_LLA Master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1_LLA Strategy Theme">
  <a:themeElements>
    <a:clrScheme name="Liberty Latin America Orange">
      <a:dk1>
        <a:srgbClr val="3E3838"/>
      </a:dk1>
      <a:lt1>
        <a:srgbClr val="FFFFFF"/>
      </a:lt1>
      <a:dk2>
        <a:srgbClr val="6F6B6C"/>
      </a:dk2>
      <a:lt2>
        <a:srgbClr val="FF4100"/>
      </a:lt2>
      <a:accent1>
        <a:srgbClr val="004F9F"/>
      </a:accent1>
      <a:accent2>
        <a:srgbClr val="831F82"/>
      </a:accent2>
      <a:accent3>
        <a:srgbClr val="C2000B"/>
      </a:accent3>
      <a:accent4>
        <a:srgbClr val="FD1A16"/>
      </a:accent4>
      <a:accent5>
        <a:srgbClr val="50A028"/>
      </a:accent5>
      <a:accent6>
        <a:srgbClr val="C0C0C0"/>
      </a:accent6>
      <a:hlink>
        <a:srgbClr val="FF4100"/>
      </a:hlink>
      <a:folHlink>
        <a:srgbClr val="6F6B6C"/>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bodyPr vert="horz" wrap="square" lIns="0" tIns="0" rIns="0" bIns="0" rtlCol="0" anchor="t" anchorCtr="0">
        <a:spAutoFit/>
      </a:bodyPr>
      <a:lstStyle>
        <a:defPP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Category xmlns="3a935923-d41d-45af-9896-0b499a53d046" xsi:nil="true"/>
    <OutstandingTasks xmlns="3a935923-d41d-45af-9896-0b499a53d046" xsi:nil="true"/>
    <DateRequested xmlns="3a935923-d41d-45af-9896-0b499a53d046" xsi:nil="true"/>
    <Purpose xmlns="3a935923-d41d-45af-9896-0b499a53d046" xsi:nil="true"/>
    <ServiceDesk xmlns="3a935923-d41d-45af-9896-0b499a53d046" xsi:nil="true"/>
    <DateRecieved xmlns="3a935923-d41d-45af-9896-0b499a53d04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01C67B7D2D853B428109719520067B0B" ma:contentTypeVersion="12" ma:contentTypeDescription="Create a new document." ma:contentTypeScope="" ma:versionID="dbdc3788f539b7016538f0a5ffda4c2e">
  <xsd:schema xmlns:xsd="http://www.w3.org/2001/XMLSchema" xmlns:xs="http://www.w3.org/2001/XMLSchema" xmlns:p="http://schemas.microsoft.com/office/2006/metadata/properties" xmlns:ns2="14030eec-3f5b-4b0b-9444-da13055d5ddb" xmlns:ns3="3a935923-d41d-45af-9896-0b499a53d046" targetNamespace="http://schemas.microsoft.com/office/2006/metadata/properties" ma:root="true" ma:fieldsID="c069db187b7d013201b643e8c8617b5c" ns2:_="" ns3:_="">
    <xsd:import namespace="14030eec-3f5b-4b0b-9444-da13055d5ddb"/>
    <xsd:import namespace="3a935923-d41d-45af-9896-0b499a53d046"/>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Purpose" minOccurs="0"/>
                <xsd:element ref="ns3:ServiceDesk" minOccurs="0"/>
                <xsd:element ref="ns3:OutstandingTasks" minOccurs="0"/>
                <xsd:element ref="ns3:Category" minOccurs="0"/>
                <xsd:element ref="ns3:DateRequested" minOccurs="0"/>
                <xsd:element ref="ns3:DateRecieved"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4030eec-3f5b-4b0b-9444-da13055d5dd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a935923-d41d-45af-9896-0b499a53d04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Purpose" ma:index="12" nillable="true" ma:displayName="Purpose" ma:format="Dropdown" ma:internalName="Purpose">
      <xsd:simpleType>
        <xsd:restriction base="dms:Note">
          <xsd:maxLength value="255"/>
        </xsd:restriction>
      </xsd:simpleType>
    </xsd:element>
    <xsd:element name="ServiceDesk" ma:index="13" nillable="true" ma:displayName="Service Desk" ma:format="Dropdown" ma:internalName="ServiceDesk">
      <xsd:simpleType>
        <xsd:restriction base="dms:Note">
          <xsd:maxLength value="255"/>
        </xsd:restriction>
      </xsd:simpleType>
    </xsd:element>
    <xsd:element name="OutstandingTasks" ma:index="14" nillable="true" ma:displayName="Outstanding Tasks" ma:format="Dropdown" ma:internalName="OutstandingTasks">
      <xsd:simpleType>
        <xsd:restriction base="dms:Note">
          <xsd:maxLength value="255"/>
        </xsd:restriction>
      </xsd:simpleType>
    </xsd:element>
    <xsd:element name="Category" ma:index="15" nillable="true" ma:displayName="Category" ma:description="SUMMARY, RFQ, PO, OTHER" ma:format="Dropdown" ma:internalName="Category">
      <xsd:simpleType>
        <xsd:restriction base="dms:Choice">
          <xsd:enumeration value="RFQ"/>
          <xsd:enumeration value="QUOTE"/>
          <xsd:enumeration value="PO"/>
          <xsd:enumeration value="BUDGET"/>
          <xsd:enumeration value="OTHER"/>
        </xsd:restriction>
      </xsd:simpleType>
    </xsd:element>
    <xsd:element name="DateRequested" ma:index="16" nillable="true" ma:displayName="Date Requested" ma:format="DateOnly" ma:internalName="DateRequested">
      <xsd:simpleType>
        <xsd:restriction base="dms:DateTime"/>
      </xsd:simpleType>
    </xsd:element>
    <xsd:element name="DateRecieved" ma:index="17" nillable="true" ma:displayName="Date Received" ma:format="DateOnly" ma:internalName="DateRecieved">
      <xsd:simpleType>
        <xsd:restriction base="dms:DateTime"/>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FF37380-D7C0-41D6-B9FF-89DB71B56F77}">
  <ds:schemaRefs>
    <ds:schemaRef ds:uri="http://schemas.microsoft.com/sharepoint/v3/contenttype/forms"/>
  </ds:schemaRefs>
</ds:datastoreItem>
</file>

<file path=customXml/itemProps2.xml><?xml version="1.0" encoding="utf-8"?>
<ds:datastoreItem xmlns:ds="http://schemas.openxmlformats.org/officeDocument/2006/customXml" ds:itemID="{36D7DA5A-E7F2-40F7-B225-F90B9D8F2572}">
  <ds:schemaRefs>
    <ds:schemaRef ds:uri="http://purl.org/dc/dcmitype/"/>
    <ds:schemaRef ds:uri="http://schemas.microsoft.com/office/2006/documentManagement/types"/>
    <ds:schemaRef ds:uri="http://schemas.microsoft.com/office/infopath/2007/PartnerControls"/>
    <ds:schemaRef ds:uri="14030eec-3f5b-4b0b-9444-da13055d5ddb"/>
    <ds:schemaRef ds:uri="http://purl.org/dc/elements/1.1/"/>
    <ds:schemaRef ds:uri="http://schemas.microsoft.com/office/2006/metadata/properties"/>
    <ds:schemaRef ds:uri="http://www.w3.org/XML/1998/namespace"/>
    <ds:schemaRef ds:uri="http://purl.org/dc/terms/"/>
    <ds:schemaRef ds:uri="http://schemas.openxmlformats.org/package/2006/metadata/core-properties"/>
    <ds:schemaRef ds:uri="3a935923-d41d-45af-9896-0b499a53d046"/>
  </ds:schemaRefs>
</ds:datastoreItem>
</file>

<file path=customXml/itemProps3.xml><?xml version="1.0" encoding="utf-8"?>
<ds:datastoreItem xmlns:ds="http://schemas.openxmlformats.org/officeDocument/2006/customXml" ds:itemID="{C5D160E8-59CA-42EC-9EEB-2E34DB2B2412}">
  <ds:schemaRefs>
    <ds:schemaRef ds:uri="14030eec-3f5b-4b0b-9444-da13055d5ddb"/>
    <ds:schemaRef ds:uri="3a935923-d41d-45af-9896-0b499a53d0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15297</TotalTime>
  <Words>1547</Words>
  <Application>Microsoft Macintosh PowerPoint</Application>
  <PresentationFormat>Widescreen</PresentationFormat>
  <Paragraphs>209</Paragraphs>
  <Slides>18</Slides>
  <Notes>5</Notes>
  <HiddenSlides>0</HiddenSlides>
  <MMClips>0</MMClips>
  <ScaleCrop>false</ScaleCrop>
  <HeadingPairs>
    <vt:vector size="8" baseType="variant">
      <vt:variant>
        <vt:lpstr>Fonts Used</vt:lpstr>
      </vt:variant>
      <vt:variant>
        <vt:i4>9</vt:i4>
      </vt:variant>
      <vt:variant>
        <vt:lpstr>Theme</vt:lpstr>
      </vt:variant>
      <vt:variant>
        <vt:i4>13</vt:i4>
      </vt:variant>
      <vt:variant>
        <vt:lpstr>Embedded OLE Servers</vt:lpstr>
      </vt:variant>
      <vt:variant>
        <vt:i4>1</vt:i4>
      </vt:variant>
      <vt:variant>
        <vt:lpstr>Slide Titles</vt:lpstr>
      </vt:variant>
      <vt:variant>
        <vt:i4>18</vt:i4>
      </vt:variant>
    </vt:vector>
  </HeadingPairs>
  <TitlesOfParts>
    <vt:vector size="41" baseType="lpstr">
      <vt:lpstr>Arial</vt:lpstr>
      <vt:lpstr>Arial MT Light</vt:lpstr>
      <vt:lpstr>Calibri</vt:lpstr>
      <vt:lpstr>Lato Light</vt:lpstr>
      <vt:lpstr>Noto Sans ExtraLight</vt:lpstr>
      <vt:lpstr>Poppins</vt:lpstr>
      <vt:lpstr>Roboto Bold</vt:lpstr>
      <vt:lpstr>Roboto Light</vt:lpstr>
      <vt:lpstr>Wingdings 2</vt:lpstr>
      <vt:lpstr>LLA Front Cover Slides</vt:lpstr>
      <vt:lpstr>LLA Slide Dividers</vt:lpstr>
      <vt:lpstr>LLA Master Theme</vt:lpstr>
      <vt:lpstr>LLA HR Theme</vt:lpstr>
      <vt:lpstr>LLA Finance Theme</vt:lpstr>
      <vt:lpstr>LLA Legal Theme</vt:lpstr>
      <vt:lpstr>LLA Strategy Theme</vt:lpstr>
      <vt:lpstr>1_LLA Master Theme</vt:lpstr>
      <vt:lpstr>1_LLA Strategy Theme</vt:lpstr>
      <vt:lpstr>2_LLA Master Theme</vt:lpstr>
      <vt:lpstr>2_LLA Strategy Theme</vt:lpstr>
      <vt:lpstr>3_LLA Master Theme</vt:lpstr>
      <vt:lpstr>3_LLA Strategy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bruary 2020 Ops Review</dc:title>
  <dc:creator>Rafael Buigas</dc:creator>
  <cp:lastModifiedBy>Aamir Hussain</cp:lastModifiedBy>
  <cp:revision>104</cp:revision>
  <dcterms:created xsi:type="dcterms:W3CDTF">2020-10-08T14:25:33Z</dcterms:created>
  <dcterms:modified xsi:type="dcterms:W3CDTF">2022-07-17T21:09: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1C67B7D2D853B428109719520067B0B</vt:lpwstr>
  </property>
</Properties>
</file>